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9"/>
  </p:notesMasterIdLst>
  <p:sldIdLst>
    <p:sldId id="256" r:id="rId5"/>
    <p:sldId id="258" r:id="rId6"/>
    <p:sldId id="277" r:id="rId7"/>
    <p:sldId id="278" r:id="rId8"/>
    <p:sldId id="279" r:id="rId9"/>
    <p:sldId id="280" r:id="rId10"/>
    <p:sldId id="281" r:id="rId11"/>
    <p:sldId id="282" r:id="rId12"/>
    <p:sldId id="1731" r:id="rId13"/>
    <p:sldId id="272" r:id="rId14"/>
    <p:sldId id="1729" r:id="rId15"/>
    <p:sldId id="1732" r:id="rId16"/>
    <p:sldId id="1726" r:id="rId17"/>
    <p:sldId id="1725" r:id="rId18"/>
  </p:sldIdLst>
  <p:sldSz cx="7772400" cy="100584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an Carlson" initials="CC" lastIdx="2" clrIdx="0">
    <p:extLst>
      <p:ext uri="{19B8F6BF-5375-455C-9EA6-DF929625EA0E}">
        <p15:presenceInfo xmlns:p15="http://schemas.microsoft.com/office/powerpoint/2012/main" userId="S::christian.carlson@alantra.com::1a6b8582-7080-4132-870c-52ab76e0957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4A2C"/>
    <a:srgbClr val="1A6C40"/>
    <a:srgbClr val="F7F8F4"/>
    <a:srgbClr val="DEE4CA"/>
    <a:srgbClr val="A9C47F"/>
    <a:srgbClr val="607D64"/>
    <a:srgbClr val="668F71"/>
    <a:srgbClr val="008F5F"/>
    <a:srgbClr val="B8D288"/>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4B509C-EEE7-485A-994E-5919214B754D}" v="478" dt="2025-02-20T02:39:57.3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72" autoAdjust="0"/>
    <p:restoredTop sz="68593" autoAdjust="0"/>
  </p:normalViewPr>
  <p:slideViewPr>
    <p:cSldViewPr snapToGrid="0">
      <p:cViewPr>
        <p:scale>
          <a:sx n="66" d="100"/>
          <a:sy n="66" d="100"/>
        </p:scale>
        <p:origin x="317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ingzi (Michaela) Zhang" userId="efbeb57e-5f87-41ab-b9ff-bb7cf3fbc262" providerId="ADAL" clId="{F59FB886-0960-46FA-BEAA-ED16CFFC6A38}"/>
    <pc:docChg chg="undo custSel modSld">
      <pc:chgData name="Tingzi (Michaela) Zhang" userId="efbeb57e-5f87-41ab-b9ff-bb7cf3fbc262" providerId="ADAL" clId="{F59FB886-0960-46FA-BEAA-ED16CFFC6A38}" dt="2023-02-16T15:49:23.194" v="17" actId="20577"/>
      <pc:docMkLst>
        <pc:docMk/>
      </pc:docMkLst>
      <pc:sldChg chg="modSp mod">
        <pc:chgData name="Tingzi (Michaela) Zhang" userId="efbeb57e-5f87-41ab-b9ff-bb7cf3fbc262" providerId="ADAL" clId="{F59FB886-0960-46FA-BEAA-ED16CFFC6A38}" dt="2023-02-16T15:49:23.194" v="17" actId="20577"/>
        <pc:sldMkLst>
          <pc:docMk/>
          <pc:sldMk cId="1419124554" sldId="256"/>
        </pc:sldMkLst>
      </pc:sldChg>
      <pc:sldChg chg="modSp">
        <pc:chgData name="Tingzi (Michaela) Zhang" userId="efbeb57e-5f87-41ab-b9ff-bb7cf3fbc262" providerId="ADAL" clId="{F59FB886-0960-46FA-BEAA-ED16CFFC6A38}" dt="2023-02-16T11:23:15.588" v="0"/>
        <pc:sldMkLst>
          <pc:docMk/>
          <pc:sldMk cId="3404556637" sldId="258"/>
        </pc:sldMkLst>
      </pc:sldChg>
      <pc:sldChg chg="modSp mod">
        <pc:chgData name="Tingzi (Michaela) Zhang" userId="efbeb57e-5f87-41ab-b9ff-bb7cf3fbc262" providerId="ADAL" clId="{F59FB886-0960-46FA-BEAA-ED16CFFC6A38}" dt="2023-02-16T11:23:33.633" v="9" actId="20577"/>
        <pc:sldMkLst>
          <pc:docMk/>
          <pc:sldMk cId="1143617534" sldId="268"/>
        </pc:sldMkLst>
      </pc:sldChg>
      <pc:sldChg chg="modSp">
        <pc:chgData name="Tingzi (Michaela) Zhang" userId="efbeb57e-5f87-41ab-b9ff-bb7cf3fbc262" providerId="ADAL" clId="{F59FB886-0960-46FA-BEAA-ED16CFFC6A38}" dt="2023-02-16T11:23:16.523" v="1"/>
        <pc:sldMkLst>
          <pc:docMk/>
          <pc:sldMk cId="1059867205" sldId="278"/>
        </pc:sldMkLst>
      </pc:sldChg>
    </pc:docChg>
  </pc:docChgLst>
  <pc:docChgLst>
    <pc:chgData name="Darius Kuddo" userId="da7555aa-d650-4d73-b00b-d01e713f1329" providerId="ADAL" clId="{9A4B509C-EEE7-485A-994E-5919214B754D}"/>
    <pc:docChg chg="undo redo custSel addSld delSld modSld modMainMaster">
      <pc:chgData name="Darius Kuddo" userId="da7555aa-d650-4d73-b00b-d01e713f1329" providerId="ADAL" clId="{9A4B509C-EEE7-485A-994E-5919214B754D}" dt="2025-02-20T18:40:57.616" v="4978" actId="2711"/>
      <pc:docMkLst>
        <pc:docMk/>
      </pc:docMkLst>
      <pc:sldChg chg="addSp delSp modSp mod">
        <pc:chgData name="Darius Kuddo" userId="da7555aa-d650-4d73-b00b-d01e713f1329" providerId="ADAL" clId="{9A4B509C-EEE7-485A-994E-5919214B754D}" dt="2025-02-20T18:32:38.826" v="4684" actId="1076"/>
        <pc:sldMkLst>
          <pc:docMk/>
          <pc:sldMk cId="1419124554" sldId="256"/>
        </pc:sldMkLst>
        <pc:spChg chg="mod">
          <ac:chgData name="Darius Kuddo" userId="da7555aa-d650-4d73-b00b-d01e713f1329" providerId="ADAL" clId="{9A4B509C-EEE7-485A-994E-5919214B754D}" dt="2025-02-20T00:54:15.953" v="320" actId="12789"/>
          <ac:spMkLst>
            <pc:docMk/>
            <pc:sldMk cId="1419124554" sldId="256"/>
            <ac:spMk id="2" creationId="{9C164F7F-9C8D-2AB2-4452-B14127DD2CBF}"/>
          </ac:spMkLst>
        </pc:spChg>
        <pc:spChg chg="del mod topLvl">
          <ac:chgData name="Darius Kuddo" userId="da7555aa-d650-4d73-b00b-d01e713f1329" providerId="ADAL" clId="{9A4B509C-EEE7-485A-994E-5919214B754D}" dt="2025-02-20T00:53:57.850" v="313" actId="478"/>
          <ac:spMkLst>
            <pc:docMk/>
            <pc:sldMk cId="1419124554" sldId="256"/>
            <ac:spMk id="11" creationId="{DA1D4356-E7BB-CD67-5AAD-65476440FB29}"/>
          </ac:spMkLst>
        </pc:spChg>
        <pc:spChg chg="mod topLvl">
          <ac:chgData name="Darius Kuddo" userId="da7555aa-d650-4d73-b00b-d01e713f1329" providerId="ADAL" clId="{9A4B509C-EEE7-485A-994E-5919214B754D}" dt="2025-02-20T02:39:10.717" v="4605" actId="165"/>
          <ac:spMkLst>
            <pc:docMk/>
            <pc:sldMk cId="1419124554" sldId="256"/>
            <ac:spMk id="13" creationId="{706D0719-B7AA-9CB6-AF35-304FACEA4910}"/>
          </ac:spMkLst>
        </pc:spChg>
        <pc:spChg chg="add mod">
          <ac:chgData name="Darius Kuddo" userId="da7555aa-d650-4d73-b00b-d01e713f1329" providerId="ADAL" clId="{9A4B509C-EEE7-485A-994E-5919214B754D}" dt="2025-02-20T02:27:29.800" v="4593" actId="1036"/>
          <ac:spMkLst>
            <pc:docMk/>
            <pc:sldMk cId="1419124554" sldId="256"/>
            <ac:spMk id="19" creationId="{29674574-7C55-10BE-36F4-880F1BEDBD14}"/>
          </ac:spMkLst>
        </pc:spChg>
        <pc:spChg chg="add del mod">
          <ac:chgData name="Darius Kuddo" userId="da7555aa-d650-4d73-b00b-d01e713f1329" providerId="ADAL" clId="{9A4B509C-EEE7-485A-994E-5919214B754D}" dt="2025-02-20T18:32:38.826" v="4684" actId="1076"/>
          <ac:spMkLst>
            <pc:docMk/>
            <pc:sldMk cId="1419124554" sldId="256"/>
            <ac:spMk id="20" creationId="{81AA896C-9BEE-48E9-82F2-E0A5F0D96705}"/>
          </ac:spMkLst>
        </pc:spChg>
        <pc:spChg chg="del mod topLvl">
          <ac:chgData name="Darius Kuddo" userId="da7555aa-d650-4d73-b00b-d01e713f1329" providerId="ADAL" clId="{9A4B509C-EEE7-485A-994E-5919214B754D}" dt="2025-02-20T00:51:19.434" v="133" actId="478"/>
          <ac:spMkLst>
            <pc:docMk/>
            <pc:sldMk cId="1419124554" sldId="256"/>
            <ac:spMk id="21" creationId="{A80D8D4D-6172-772D-34F6-113126BAB906}"/>
          </ac:spMkLst>
        </pc:spChg>
        <pc:spChg chg="mod">
          <ac:chgData name="Darius Kuddo" userId="da7555aa-d650-4d73-b00b-d01e713f1329" providerId="ADAL" clId="{9A4B509C-EEE7-485A-994E-5919214B754D}" dt="2025-02-20T00:47:23.595" v="32" actId="165"/>
          <ac:spMkLst>
            <pc:docMk/>
            <pc:sldMk cId="1419124554" sldId="256"/>
            <ac:spMk id="22" creationId="{EECE2DC8-2927-89DF-DCF3-F4FFAF44CF32}"/>
          </ac:spMkLst>
        </pc:spChg>
        <pc:spChg chg="mod">
          <ac:chgData name="Darius Kuddo" userId="da7555aa-d650-4d73-b00b-d01e713f1329" providerId="ADAL" clId="{9A4B509C-EEE7-485A-994E-5919214B754D}" dt="2025-02-20T02:28:46.718" v="4604"/>
          <ac:spMkLst>
            <pc:docMk/>
            <pc:sldMk cId="1419124554" sldId="256"/>
            <ac:spMk id="25" creationId="{0B7CE281-E083-4DC2-AC45-BDDB90D46E34}"/>
          </ac:spMkLst>
        </pc:spChg>
        <pc:spChg chg="mod">
          <ac:chgData name="Darius Kuddo" userId="da7555aa-d650-4d73-b00b-d01e713f1329" providerId="ADAL" clId="{9A4B509C-EEE7-485A-994E-5919214B754D}" dt="2025-02-20T02:27:29.800" v="4593" actId="1036"/>
          <ac:spMkLst>
            <pc:docMk/>
            <pc:sldMk cId="1419124554" sldId="256"/>
            <ac:spMk id="33" creationId="{C26305C1-E1F4-0B3B-F546-7760F0C457DC}"/>
          </ac:spMkLst>
        </pc:spChg>
        <pc:spChg chg="mod topLvl">
          <ac:chgData name="Darius Kuddo" userId="da7555aa-d650-4d73-b00b-d01e713f1329" providerId="ADAL" clId="{9A4B509C-EEE7-485A-994E-5919214B754D}" dt="2025-02-20T02:39:11.860" v="4606" actId="165"/>
          <ac:spMkLst>
            <pc:docMk/>
            <pc:sldMk cId="1419124554" sldId="256"/>
            <ac:spMk id="36" creationId="{62FB8768-4514-802C-D5CC-1948F8B6F815}"/>
          </ac:spMkLst>
        </pc:spChg>
        <pc:spChg chg="mod topLvl">
          <ac:chgData name="Darius Kuddo" userId="da7555aa-d650-4d73-b00b-d01e713f1329" providerId="ADAL" clId="{9A4B509C-EEE7-485A-994E-5919214B754D}" dt="2025-02-20T02:27:29.800" v="4593" actId="1036"/>
          <ac:spMkLst>
            <pc:docMk/>
            <pc:sldMk cId="1419124554" sldId="256"/>
            <ac:spMk id="37" creationId="{9055C8FD-77F9-3D8F-267F-A1E9169E322C}"/>
          </ac:spMkLst>
        </pc:spChg>
        <pc:spChg chg="mod">
          <ac:chgData name="Darius Kuddo" userId="da7555aa-d650-4d73-b00b-d01e713f1329" providerId="ADAL" clId="{9A4B509C-EEE7-485A-994E-5919214B754D}" dt="2025-02-20T02:39:11.860" v="4606" actId="165"/>
          <ac:spMkLst>
            <pc:docMk/>
            <pc:sldMk cId="1419124554" sldId="256"/>
            <ac:spMk id="38" creationId="{5BEA036D-65BA-850D-B68A-3E80E5A3FCFE}"/>
          </ac:spMkLst>
        </pc:spChg>
        <pc:spChg chg="mod topLvl">
          <ac:chgData name="Darius Kuddo" userId="da7555aa-d650-4d73-b00b-d01e713f1329" providerId="ADAL" clId="{9A4B509C-EEE7-485A-994E-5919214B754D}" dt="2025-02-20T02:39:14.433" v="4608" actId="1076"/>
          <ac:spMkLst>
            <pc:docMk/>
            <pc:sldMk cId="1419124554" sldId="256"/>
            <ac:spMk id="43" creationId="{A27F3565-B84E-2305-ECB0-28EC935D656B}"/>
          </ac:spMkLst>
        </pc:spChg>
        <pc:spChg chg="mod">
          <ac:chgData name="Darius Kuddo" userId="da7555aa-d650-4d73-b00b-d01e713f1329" providerId="ADAL" clId="{9A4B509C-EEE7-485A-994E-5919214B754D}" dt="2025-02-20T02:39:11.860" v="4606" actId="165"/>
          <ac:spMkLst>
            <pc:docMk/>
            <pc:sldMk cId="1419124554" sldId="256"/>
            <ac:spMk id="45" creationId="{48E741F2-68E5-25E1-5EB3-CAFC35BCFF47}"/>
          </ac:spMkLst>
        </pc:spChg>
        <pc:spChg chg="add del mod">
          <ac:chgData name="Darius Kuddo" userId="da7555aa-d650-4d73-b00b-d01e713f1329" providerId="ADAL" clId="{9A4B509C-EEE7-485A-994E-5919214B754D}" dt="2025-02-20T00:53:08.634" v="280" actId="478"/>
          <ac:spMkLst>
            <pc:docMk/>
            <pc:sldMk cId="1419124554" sldId="256"/>
            <ac:spMk id="46" creationId="{262F168E-9678-0CAF-28FE-3F95ABD1D51E}"/>
          </ac:spMkLst>
        </pc:spChg>
        <pc:spChg chg="mod">
          <ac:chgData name="Darius Kuddo" userId="da7555aa-d650-4d73-b00b-d01e713f1329" providerId="ADAL" clId="{9A4B509C-EEE7-485A-994E-5919214B754D}" dt="2025-02-20T02:27:26.484" v="4590" actId="1036"/>
          <ac:spMkLst>
            <pc:docMk/>
            <pc:sldMk cId="1419124554" sldId="256"/>
            <ac:spMk id="47" creationId="{4B82FABE-CB1A-3EE9-2ED1-7E38FECC3599}"/>
          </ac:spMkLst>
        </pc:spChg>
        <pc:spChg chg="add mod">
          <ac:chgData name="Darius Kuddo" userId="da7555aa-d650-4d73-b00b-d01e713f1329" providerId="ADAL" clId="{9A4B509C-EEE7-485A-994E-5919214B754D}" dt="2025-02-20T18:32:34.051" v="4682" actId="20577"/>
          <ac:spMkLst>
            <pc:docMk/>
            <pc:sldMk cId="1419124554" sldId="256"/>
            <ac:spMk id="52" creationId="{36ACF986-D025-3715-B434-520D8787DA11}"/>
          </ac:spMkLst>
        </pc:spChg>
        <pc:spChg chg="add mod">
          <ac:chgData name="Darius Kuddo" userId="da7555aa-d650-4d73-b00b-d01e713f1329" providerId="ADAL" clId="{9A4B509C-EEE7-485A-994E-5919214B754D}" dt="2025-02-20T02:39:42.364" v="4631"/>
          <ac:spMkLst>
            <pc:docMk/>
            <pc:sldMk cId="1419124554" sldId="256"/>
            <ac:spMk id="53" creationId="{162DA2A3-F341-B1F4-B0EA-3F4AD5B9AC86}"/>
          </ac:spMkLst>
        </pc:spChg>
        <pc:grpChg chg="del">
          <ac:chgData name="Darius Kuddo" userId="da7555aa-d650-4d73-b00b-d01e713f1329" providerId="ADAL" clId="{9A4B509C-EEE7-485A-994E-5919214B754D}" dt="2025-02-20T00:47:23.595" v="32" actId="165"/>
          <ac:grpSpMkLst>
            <pc:docMk/>
            <pc:sldMk cId="1419124554" sldId="256"/>
            <ac:grpSpMk id="5" creationId="{E9B03D6D-C781-4ABC-55F8-1E1D25E3C66E}"/>
          </ac:grpSpMkLst>
        </pc:grpChg>
        <pc:grpChg chg="del mod">
          <ac:chgData name="Darius Kuddo" userId="da7555aa-d650-4d73-b00b-d01e713f1329" providerId="ADAL" clId="{9A4B509C-EEE7-485A-994E-5919214B754D}" dt="2025-02-20T00:53:52.043" v="310" actId="165"/>
          <ac:grpSpMkLst>
            <pc:docMk/>
            <pc:sldMk cId="1419124554" sldId="256"/>
            <ac:grpSpMk id="9" creationId="{C346890E-2820-438C-A76A-F25225104464}"/>
          </ac:grpSpMkLst>
        </pc:grpChg>
        <pc:grpChg chg="del mod topLvl">
          <ac:chgData name="Darius Kuddo" userId="da7555aa-d650-4d73-b00b-d01e713f1329" providerId="ADAL" clId="{9A4B509C-EEE7-485A-994E-5919214B754D}" dt="2025-02-20T00:54:01.283" v="316" actId="165"/>
          <ac:grpSpMkLst>
            <pc:docMk/>
            <pc:sldMk cId="1419124554" sldId="256"/>
            <ac:grpSpMk id="10" creationId="{971C6105-D969-E578-98E8-D225EB52809C}"/>
          </ac:grpSpMkLst>
        </pc:grpChg>
        <pc:grpChg chg="del">
          <ac:chgData name="Darius Kuddo" userId="da7555aa-d650-4d73-b00b-d01e713f1329" providerId="ADAL" clId="{9A4B509C-EEE7-485A-994E-5919214B754D}" dt="2025-02-20T00:47:23.595" v="32" actId="165"/>
          <ac:grpSpMkLst>
            <pc:docMk/>
            <pc:sldMk cId="1419124554" sldId="256"/>
            <ac:grpSpMk id="24" creationId="{5B116059-4C01-44B3-34D7-AD551AF8E5F2}"/>
          </ac:grpSpMkLst>
        </pc:grpChg>
        <pc:grpChg chg="del mod topLvl">
          <ac:chgData name="Darius Kuddo" userId="da7555aa-d650-4d73-b00b-d01e713f1329" providerId="ADAL" clId="{9A4B509C-EEE7-485A-994E-5919214B754D}" dt="2025-02-20T00:47:29.726" v="34" actId="478"/>
          <ac:grpSpMkLst>
            <pc:docMk/>
            <pc:sldMk cId="1419124554" sldId="256"/>
            <ac:grpSpMk id="26" creationId="{75BF75E3-F53F-A8C9-1BDE-E498D6F65C89}"/>
          </ac:grpSpMkLst>
        </pc:grpChg>
        <pc:grpChg chg="del">
          <ac:chgData name="Darius Kuddo" userId="da7555aa-d650-4d73-b00b-d01e713f1329" providerId="ADAL" clId="{9A4B509C-EEE7-485A-994E-5919214B754D}" dt="2025-02-20T00:53:21.769" v="300" actId="478"/>
          <ac:grpSpMkLst>
            <pc:docMk/>
            <pc:sldMk cId="1419124554" sldId="256"/>
            <ac:grpSpMk id="27" creationId="{9E21C77B-E7D3-E46A-DBB3-1870C0BEF631}"/>
          </ac:grpSpMkLst>
        </pc:grpChg>
        <pc:grpChg chg="del mod topLvl">
          <ac:chgData name="Darius Kuddo" userId="da7555aa-d650-4d73-b00b-d01e713f1329" providerId="ADAL" clId="{9A4B509C-EEE7-485A-994E-5919214B754D}" dt="2025-02-20T02:39:11.860" v="4606" actId="165"/>
          <ac:grpSpMkLst>
            <pc:docMk/>
            <pc:sldMk cId="1419124554" sldId="256"/>
            <ac:grpSpMk id="34" creationId="{D3C4AA2C-203B-F21A-7B69-61A68A9D08D7}"/>
          </ac:grpSpMkLst>
        </pc:grpChg>
        <pc:grpChg chg="mod topLvl">
          <ac:chgData name="Darius Kuddo" userId="da7555aa-d650-4d73-b00b-d01e713f1329" providerId="ADAL" clId="{9A4B509C-EEE7-485A-994E-5919214B754D}" dt="2025-02-20T02:39:11.860" v="4606" actId="165"/>
          <ac:grpSpMkLst>
            <pc:docMk/>
            <pc:sldMk cId="1419124554" sldId="256"/>
            <ac:grpSpMk id="35" creationId="{EC274AA7-BED9-96D4-4C2F-685AC4426719}"/>
          </ac:grpSpMkLst>
        </pc:grpChg>
        <pc:grpChg chg="del mod topLvl">
          <ac:chgData name="Darius Kuddo" userId="da7555aa-d650-4d73-b00b-d01e713f1329" providerId="ADAL" clId="{9A4B509C-EEE7-485A-994E-5919214B754D}" dt="2025-02-20T02:39:11.860" v="4606" actId="165"/>
          <ac:grpSpMkLst>
            <pc:docMk/>
            <pc:sldMk cId="1419124554" sldId="256"/>
            <ac:grpSpMk id="41" creationId="{A1A42593-819E-1DA4-D25B-859E29F7851F}"/>
          </ac:grpSpMkLst>
        </pc:grpChg>
        <pc:grpChg chg="mod topLvl">
          <ac:chgData name="Darius Kuddo" userId="da7555aa-d650-4d73-b00b-d01e713f1329" providerId="ADAL" clId="{9A4B509C-EEE7-485A-994E-5919214B754D}" dt="2025-02-20T02:39:11.860" v="4606" actId="165"/>
          <ac:grpSpMkLst>
            <pc:docMk/>
            <pc:sldMk cId="1419124554" sldId="256"/>
            <ac:grpSpMk id="42" creationId="{44FAFAD2-B622-93E8-3BFC-790142734ABD}"/>
          </ac:grpSpMkLst>
        </pc:grpChg>
        <pc:grpChg chg="add del mod">
          <ac:chgData name="Darius Kuddo" userId="da7555aa-d650-4d73-b00b-d01e713f1329" providerId="ADAL" clId="{9A4B509C-EEE7-485A-994E-5919214B754D}" dt="2025-02-20T02:39:10.717" v="4605" actId="165"/>
          <ac:grpSpMkLst>
            <pc:docMk/>
            <pc:sldMk cId="1419124554" sldId="256"/>
            <ac:grpSpMk id="50" creationId="{F7C581B6-F170-3F2C-B36A-FACB8E5F1833}"/>
          </ac:grpSpMkLst>
        </pc:grpChg>
        <pc:picChg chg="del">
          <ac:chgData name="Darius Kuddo" userId="da7555aa-d650-4d73-b00b-d01e713f1329" providerId="ADAL" clId="{9A4B509C-EEE7-485A-994E-5919214B754D}" dt="2025-02-20T00:49:59.426" v="88" actId="478"/>
          <ac:picMkLst>
            <pc:docMk/>
            <pc:sldMk cId="1419124554" sldId="256"/>
            <ac:picMk id="4" creationId="{8A17CC22-A19B-594C-B3FA-43DB4121B83D}"/>
          </ac:picMkLst>
        </pc:picChg>
        <pc:picChg chg="add mod">
          <ac:chgData name="Darius Kuddo" userId="da7555aa-d650-4d73-b00b-d01e713f1329" providerId="ADAL" clId="{9A4B509C-EEE7-485A-994E-5919214B754D}" dt="2025-02-20T02:27:29.800" v="4593" actId="1036"/>
          <ac:picMkLst>
            <pc:docMk/>
            <pc:sldMk cId="1419124554" sldId="256"/>
            <ac:picMk id="6" creationId="{A4E6DFB7-54AB-7CCE-C201-016F44431E84}"/>
          </ac:picMkLst>
        </pc:picChg>
        <pc:picChg chg="add mod">
          <ac:chgData name="Darius Kuddo" userId="da7555aa-d650-4d73-b00b-d01e713f1329" providerId="ADAL" clId="{9A4B509C-EEE7-485A-994E-5919214B754D}" dt="2025-02-20T02:27:29.800" v="4593" actId="1036"/>
          <ac:picMkLst>
            <pc:docMk/>
            <pc:sldMk cId="1419124554" sldId="256"/>
            <ac:picMk id="8" creationId="{D91A0563-3FC5-D04D-4EE0-9D61AF4219B8}"/>
          </ac:picMkLst>
        </pc:picChg>
        <pc:picChg chg="del mod topLvl">
          <ac:chgData name="Darius Kuddo" userId="da7555aa-d650-4d73-b00b-d01e713f1329" providerId="ADAL" clId="{9A4B509C-EEE7-485A-994E-5919214B754D}" dt="2025-02-20T00:51:17.604" v="130" actId="478"/>
          <ac:picMkLst>
            <pc:docMk/>
            <pc:sldMk cId="1419124554" sldId="256"/>
            <ac:picMk id="12" creationId="{3C3B3869-1B29-5E7F-C36B-12258D66974B}"/>
          </ac:picMkLst>
        </pc:picChg>
        <pc:picChg chg="mod">
          <ac:chgData name="Darius Kuddo" userId="da7555aa-d650-4d73-b00b-d01e713f1329" providerId="ADAL" clId="{9A4B509C-EEE7-485A-994E-5919214B754D}" dt="2025-02-20T00:47:23.595" v="32" actId="165"/>
          <ac:picMkLst>
            <pc:docMk/>
            <pc:sldMk cId="1419124554" sldId="256"/>
            <ac:picMk id="14" creationId="{961E560F-1BBD-B48F-B5D7-67D4F022878B}"/>
          </ac:picMkLst>
        </pc:picChg>
        <pc:picChg chg="mod topLvl">
          <ac:chgData name="Darius Kuddo" userId="da7555aa-d650-4d73-b00b-d01e713f1329" providerId="ADAL" clId="{9A4B509C-EEE7-485A-994E-5919214B754D}" dt="2025-02-20T02:39:10.717" v="4605" actId="165"/>
          <ac:picMkLst>
            <pc:docMk/>
            <pc:sldMk cId="1419124554" sldId="256"/>
            <ac:picMk id="18" creationId="{02810CBE-4CDB-CE17-9A75-C3C117BDDF2A}"/>
          </ac:picMkLst>
        </pc:picChg>
        <pc:picChg chg="add mod">
          <ac:chgData name="Darius Kuddo" userId="da7555aa-d650-4d73-b00b-d01e713f1329" providerId="ADAL" clId="{9A4B509C-EEE7-485A-994E-5919214B754D}" dt="2025-02-20T02:27:29.800" v="4593" actId="1036"/>
          <ac:picMkLst>
            <pc:docMk/>
            <pc:sldMk cId="1419124554" sldId="256"/>
            <ac:picMk id="23" creationId="{80BCB59F-2D28-F3A4-5BFF-070B11B7A3A5}"/>
          </ac:picMkLst>
        </pc:picChg>
        <pc:picChg chg="add mod">
          <ac:chgData name="Darius Kuddo" userId="da7555aa-d650-4d73-b00b-d01e713f1329" providerId="ADAL" clId="{9A4B509C-EEE7-485A-994E-5919214B754D}" dt="2025-02-20T02:27:29.800" v="4593" actId="1036"/>
          <ac:picMkLst>
            <pc:docMk/>
            <pc:sldMk cId="1419124554" sldId="256"/>
            <ac:picMk id="39" creationId="{94B049C5-06E6-DBD7-4F80-889A734B6D22}"/>
          </ac:picMkLst>
        </pc:picChg>
        <pc:picChg chg="mod">
          <ac:chgData name="Darius Kuddo" userId="da7555aa-d650-4d73-b00b-d01e713f1329" providerId="ADAL" clId="{9A4B509C-EEE7-485A-994E-5919214B754D}" dt="2025-02-20T02:39:11.860" v="4606" actId="165"/>
          <ac:picMkLst>
            <pc:docMk/>
            <pc:sldMk cId="1419124554" sldId="256"/>
            <ac:picMk id="40" creationId="{784F23A6-FDF9-D659-E6EE-C68EED65BDC2}"/>
          </ac:picMkLst>
        </pc:picChg>
        <pc:picChg chg="add mod">
          <ac:chgData name="Darius Kuddo" userId="da7555aa-d650-4d73-b00b-d01e713f1329" providerId="ADAL" clId="{9A4B509C-EEE7-485A-994E-5919214B754D}" dt="2025-02-20T02:27:29.800" v="4593" actId="1036"/>
          <ac:picMkLst>
            <pc:docMk/>
            <pc:sldMk cId="1419124554" sldId="256"/>
            <ac:picMk id="44" creationId="{7748F892-2FF9-936F-6822-EB5785A56B59}"/>
          </ac:picMkLst>
        </pc:picChg>
        <pc:picChg chg="mod topLvl">
          <ac:chgData name="Darius Kuddo" userId="da7555aa-d650-4d73-b00b-d01e713f1329" providerId="ADAL" clId="{9A4B509C-EEE7-485A-994E-5919214B754D}" dt="2025-02-20T02:27:29.800" v="4593" actId="1036"/>
          <ac:picMkLst>
            <pc:docMk/>
            <pc:sldMk cId="1419124554" sldId="256"/>
            <ac:picMk id="48" creationId="{9833433A-D188-05F2-E631-449E032EA006}"/>
          </ac:picMkLst>
        </pc:picChg>
        <pc:picChg chg="mod">
          <ac:chgData name="Darius Kuddo" userId="da7555aa-d650-4d73-b00b-d01e713f1329" providerId="ADAL" clId="{9A4B509C-EEE7-485A-994E-5919214B754D}" dt="2025-02-20T02:39:11.860" v="4606" actId="165"/>
          <ac:picMkLst>
            <pc:docMk/>
            <pc:sldMk cId="1419124554" sldId="256"/>
            <ac:picMk id="49" creationId="{77E0616B-5E93-43A1-BD32-B41023ADEFEC}"/>
          </ac:picMkLst>
        </pc:picChg>
        <pc:picChg chg="add mod">
          <ac:chgData name="Darius Kuddo" userId="da7555aa-d650-4d73-b00b-d01e713f1329" providerId="ADAL" clId="{9A4B509C-EEE7-485A-994E-5919214B754D}" dt="2025-02-20T00:49:24.564" v="71" actId="1076"/>
          <ac:picMkLst>
            <pc:docMk/>
            <pc:sldMk cId="1419124554" sldId="256"/>
            <ac:picMk id="1026" creationId="{3B9A1958-4482-65B9-F1EF-5604E1C5C04E}"/>
          </ac:picMkLst>
        </pc:picChg>
        <pc:picChg chg="add mod">
          <ac:chgData name="Darius Kuddo" userId="da7555aa-d650-4d73-b00b-d01e713f1329" providerId="ADAL" clId="{9A4B509C-EEE7-485A-994E-5919214B754D}" dt="2025-02-20T02:27:29.800" v="4593" actId="1036"/>
          <ac:picMkLst>
            <pc:docMk/>
            <pc:sldMk cId="1419124554" sldId="256"/>
            <ac:picMk id="1028" creationId="{271DFB5D-004A-922C-E0BF-295270FA139A}"/>
          </ac:picMkLst>
        </pc:picChg>
        <pc:picChg chg="mod topLvl">
          <ac:chgData name="Darius Kuddo" userId="da7555aa-d650-4d73-b00b-d01e713f1329" providerId="ADAL" clId="{9A4B509C-EEE7-485A-994E-5919214B754D}" dt="2025-02-20T02:27:29.800" v="4593" actId="1036"/>
          <ac:picMkLst>
            <pc:docMk/>
            <pc:sldMk cId="1419124554" sldId="256"/>
            <ac:picMk id="1032" creationId="{0FE04F4B-C002-4B20-10E9-AE1B14133AAA}"/>
          </ac:picMkLst>
        </pc:picChg>
        <pc:picChg chg="mod">
          <ac:chgData name="Darius Kuddo" userId="da7555aa-d650-4d73-b00b-d01e713f1329" providerId="ADAL" clId="{9A4B509C-EEE7-485A-994E-5919214B754D}" dt="2025-02-20T02:27:29.800" v="4593" actId="1036"/>
          <ac:picMkLst>
            <pc:docMk/>
            <pc:sldMk cId="1419124554" sldId="256"/>
            <ac:picMk id="1034" creationId="{60E76D28-C8DF-D3CE-83D7-F440B3EF9E0F}"/>
          </ac:picMkLst>
        </pc:picChg>
      </pc:sldChg>
      <pc:sldChg chg="addSp delSp modSp mod">
        <pc:chgData name="Darius Kuddo" userId="da7555aa-d650-4d73-b00b-d01e713f1329" providerId="ADAL" clId="{9A4B509C-EEE7-485A-994E-5919214B754D}" dt="2025-02-20T18:34:45.342" v="4695" actId="20577"/>
        <pc:sldMkLst>
          <pc:docMk/>
          <pc:sldMk cId="3404556637" sldId="258"/>
        </pc:sldMkLst>
        <pc:spChg chg="mod">
          <ac:chgData name="Darius Kuddo" userId="da7555aa-d650-4d73-b00b-d01e713f1329" providerId="ADAL" clId="{9A4B509C-EEE7-485A-994E-5919214B754D}" dt="2025-02-20T18:34:45.342" v="4695" actId="20577"/>
          <ac:spMkLst>
            <pc:docMk/>
            <pc:sldMk cId="3404556637" sldId="258"/>
            <ac:spMk id="6" creationId="{B8EDD2A0-2E3C-27DA-0CE2-413B27C0F76B}"/>
          </ac:spMkLst>
        </pc:spChg>
        <pc:spChg chg="mod">
          <ac:chgData name="Darius Kuddo" userId="da7555aa-d650-4d73-b00b-d01e713f1329" providerId="ADAL" clId="{9A4B509C-EEE7-485A-994E-5919214B754D}" dt="2025-02-20T00:55:14.620" v="344" actId="121"/>
          <ac:spMkLst>
            <pc:docMk/>
            <pc:sldMk cId="3404556637" sldId="258"/>
            <ac:spMk id="8" creationId="{BFDA8159-CB36-4784-8E12-1945228C9CED}"/>
          </ac:spMkLst>
        </pc:spChg>
        <pc:grpChg chg="del mod">
          <ac:chgData name="Darius Kuddo" userId="da7555aa-d650-4d73-b00b-d01e713f1329" providerId="ADAL" clId="{9A4B509C-EEE7-485A-994E-5919214B754D}" dt="2025-02-20T00:55:25.601" v="349" actId="478"/>
          <ac:grpSpMkLst>
            <pc:docMk/>
            <pc:sldMk cId="3404556637" sldId="258"/>
            <ac:grpSpMk id="7" creationId="{63979E43-8309-9C02-A6BD-297AC777B99B}"/>
          </ac:grpSpMkLst>
        </pc:grpChg>
        <pc:grpChg chg="del">
          <ac:chgData name="Darius Kuddo" userId="da7555aa-d650-4d73-b00b-d01e713f1329" providerId="ADAL" clId="{9A4B509C-EEE7-485A-994E-5919214B754D}" dt="2025-02-20T00:55:00.387" v="339" actId="478"/>
          <ac:grpSpMkLst>
            <pc:docMk/>
            <pc:sldMk cId="3404556637" sldId="258"/>
            <ac:grpSpMk id="13" creationId="{2D78AABD-65AF-48F5-EDF0-D3E0F4AA1EA3}"/>
          </ac:grpSpMkLst>
        </pc:grpChg>
        <pc:grpChg chg="del">
          <ac:chgData name="Darius Kuddo" userId="da7555aa-d650-4d73-b00b-d01e713f1329" providerId="ADAL" clId="{9A4B509C-EEE7-485A-994E-5919214B754D}" dt="2025-02-20T00:55:00.387" v="339" actId="478"/>
          <ac:grpSpMkLst>
            <pc:docMk/>
            <pc:sldMk cId="3404556637" sldId="258"/>
            <ac:grpSpMk id="32" creationId="{28972495-B050-1D03-3DAF-EB79E45C77EF}"/>
          </ac:grpSpMkLst>
        </pc:grpChg>
        <pc:grpChg chg="del">
          <ac:chgData name="Darius Kuddo" userId="da7555aa-d650-4d73-b00b-d01e713f1329" providerId="ADAL" clId="{9A4B509C-EEE7-485A-994E-5919214B754D}" dt="2025-02-20T00:55:00.387" v="339" actId="478"/>
          <ac:grpSpMkLst>
            <pc:docMk/>
            <pc:sldMk cId="3404556637" sldId="258"/>
            <ac:grpSpMk id="39" creationId="{8DD1CDE1-16C0-3BB6-14F5-A91EC9870251}"/>
          </ac:grpSpMkLst>
        </pc:grpChg>
        <pc:grpChg chg="del">
          <ac:chgData name="Darius Kuddo" userId="da7555aa-d650-4d73-b00b-d01e713f1329" providerId="ADAL" clId="{9A4B509C-EEE7-485A-994E-5919214B754D}" dt="2025-02-20T00:55:00.387" v="339" actId="478"/>
          <ac:grpSpMkLst>
            <pc:docMk/>
            <pc:sldMk cId="3404556637" sldId="258"/>
            <ac:grpSpMk id="42" creationId="{B55910DD-2801-1A70-300D-5A745E245DFB}"/>
          </ac:grpSpMkLst>
        </pc:grpChg>
        <pc:grpChg chg="del">
          <ac:chgData name="Darius Kuddo" userId="da7555aa-d650-4d73-b00b-d01e713f1329" providerId="ADAL" clId="{9A4B509C-EEE7-485A-994E-5919214B754D}" dt="2025-02-20T00:55:00.387" v="339" actId="478"/>
          <ac:grpSpMkLst>
            <pc:docMk/>
            <pc:sldMk cId="3404556637" sldId="258"/>
            <ac:grpSpMk id="45" creationId="{280BCDE3-7CDE-2144-F13D-3C4FBFDF7F44}"/>
          </ac:grpSpMkLst>
        </pc:grpChg>
        <pc:graphicFrameChg chg="mod modGraphic">
          <ac:chgData name="Darius Kuddo" userId="da7555aa-d650-4d73-b00b-d01e713f1329" providerId="ADAL" clId="{9A4B509C-EEE7-485A-994E-5919214B754D}" dt="2025-02-20T02:39:58.164" v="4633" actId="20577"/>
          <ac:graphicFrameMkLst>
            <pc:docMk/>
            <pc:sldMk cId="3404556637" sldId="258"/>
            <ac:graphicFrameMk id="2" creationId="{F3B9234B-46B5-42DF-BF0B-6CB49C3D86D0}"/>
          </ac:graphicFrameMkLst>
        </pc:graphicFrameChg>
        <pc:picChg chg="add mod ord">
          <ac:chgData name="Darius Kuddo" userId="da7555aa-d650-4d73-b00b-d01e713f1329" providerId="ADAL" clId="{9A4B509C-EEE7-485A-994E-5919214B754D}" dt="2025-02-20T00:57:51.161" v="410" actId="552"/>
          <ac:picMkLst>
            <pc:docMk/>
            <pc:sldMk cId="3404556637" sldId="258"/>
            <ac:picMk id="3" creationId="{4D8EFF7A-A4BC-FF71-599A-20FA3767AEDA}"/>
          </ac:picMkLst>
        </pc:picChg>
        <pc:picChg chg="add mod">
          <ac:chgData name="Darius Kuddo" userId="da7555aa-d650-4d73-b00b-d01e713f1329" providerId="ADAL" clId="{9A4B509C-EEE7-485A-994E-5919214B754D}" dt="2025-02-20T00:58:02.952" v="441" actId="552"/>
          <ac:picMkLst>
            <pc:docMk/>
            <pc:sldMk cId="3404556637" sldId="258"/>
            <ac:picMk id="4" creationId="{1ED776A2-05E7-EAE7-4BA7-C184DE856F5B}"/>
          </ac:picMkLst>
        </pc:picChg>
        <pc:picChg chg="add mod">
          <ac:chgData name="Darius Kuddo" userId="da7555aa-d650-4d73-b00b-d01e713f1329" providerId="ADAL" clId="{9A4B509C-EEE7-485A-994E-5919214B754D}" dt="2025-02-20T00:57:55.471" v="438" actId="1036"/>
          <ac:picMkLst>
            <pc:docMk/>
            <pc:sldMk cId="3404556637" sldId="258"/>
            <ac:picMk id="5" creationId="{A3211DA6-E177-24F7-F142-38CAF31C6D1B}"/>
          </ac:picMkLst>
        </pc:picChg>
        <pc:picChg chg="add mod">
          <ac:chgData name="Darius Kuddo" userId="da7555aa-d650-4d73-b00b-d01e713f1329" providerId="ADAL" clId="{9A4B509C-EEE7-485A-994E-5919214B754D}" dt="2025-02-20T00:58:06.039" v="457" actId="1036"/>
          <ac:picMkLst>
            <pc:docMk/>
            <pc:sldMk cId="3404556637" sldId="258"/>
            <ac:picMk id="10" creationId="{8693B211-9401-5678-71F9-5A0193E0AD40}"/>
          </ac:picMkLst>
        </pc:picChg>
      </pc:sldChg>
      <pc:sldChg chg="modSp del mod">
        <pc:chgData name="Darius Kuddo" userId="da7555aa-d650-4d73-b00b-d01e713f1329" providerId="ADAL" clId="{9A4B509C-EEE7-485A-994E-5919214B754D}" dt="2025-02-20T01:13:27.566" v="1257" actId="47"/>
        <pc:sldMkLst>
          <pc:docMk/>
          <pc:sldMk cId="1199249836" sldId="264"/>
        </pc:sldMkLst>
        <pc:spChg chg="mod">
          <ac:chgData name="Darius Kuddo" userId="da7555aa-d650-4d73-b00b-d01e713f1329" providerId="ADAL" clId="{9A4B509C-EEE7-485A-994E-5919214B754D}" dt="2025-02-20T01:13:12.465" v="1245" actId="20577"/>
          <ac:spMkLst>
            <pc:docMk/>
            <pc:sldMk cId="1199249836" sldId="264"/>
            <ac:spMk id="28" creationId="{F9D81B81-3E81-7E39-A1E1-07AFC47CDAF9}"/>
          </ac:spMkLst>
        </pc:spChg>
        <pc:graphicFrameChg chg="modGraphic">
          <ac:chgData name="Darius Kuddo" userId="da7555aa-d650-4d73-b00b-d01e713f1329" providerId="ADAL" clId="{9A4B509C-EEE7-485A-994E-5919214B754D}" dt="2025-02-20T01:12:49.385" v="1243" actId="20577"/>
          <ac:graphicFrameMkLst>
            <pc:docMk/>
            <pc:sldMk cId="1199249836" sldId="264"/>
            <ac:graphicFrameMk id="2" creationId="{F3B9234B-46B5-42DF-BF0B-6CB49C3D86D0}"/>
          </ac:graphicFrameMkLst>
        </pc:graphicFrameChg>
        <pc:picChg chg="mod">
          <ac:chgData name="Darius Kuddo" userId="da7555aa-d650-4d73-b00b-d01e713f1329" providerId="ADAL" clId="{9A4B509C-EEE7-485A-994E-5919214B754D}" dt="2025-02-20T01:13:19.283" v="1247" actId="1076"/>
          <ac:picMkLst>
            <pc:docMk/>
            <pc:sldMk cId="1199249836" sldId="264"/>
            <ac:picMk id="22" creationId="{C2AF5FB0-34C0-D83F-76AE-039C7A86C037}"/>
          </ac:picMkLst>
        </pc:picChg>
      </pc:sldChg>
      <pc:sldChg chg="del">
        <pc:chgData name="Darius Kuddo" userId="da7555aa-d650-4d73-b00b-d01e713f1329" providerId="ADAL" clId="{9A4B509C-EEE7-485A-994E-5919214B754D}" dt="2025-02-20T00:54:49.989" v="338" actId="47"/>
        <pc:sldMkLst>
          <pc:docMk/>
          <pc:sldMk cId="3388095227" sldId="265"/>
        </pc:sldMkLst>
      </pc:sldChg>
      <pc:sldChg chg="del">
        <pc:chgData name="Darius Kuddo" userId="da7555aa-d650-4d73-b00b-d01e713f1329" providerId="ADAL" clId="{9A4B509C-EEE7-485A-994E-5919214B754D}" dt="2025-02-20T00:54:49.989" v="338" actId="47"/>
        <pc:sldMkLst>
          <pc:docMk/>
          <pc:sldMk cId="1275861852" sldId="266"/>
        </pc:sldMkLst>
      </pc:sldChg>
      <pc:sldChg chg="del">
        <pc:chgData name="Darius Kuddo" userId="da7555aa-d650-4d73-b00b-d01e713f1329" providerId="ADAL" clId="{9A4B509C-EEE7-485A-994E-5919214B754D}" dt="2025-02-20T00:54:49.989" v="338" actId="47"/>
        <pc:sldMkLst>
          <pc:docMk/>
          <pc:sldMk cId="1143617534" sldId="268"/>
        </pc:sldMkLst>
      </pc:sldChg>
      <pc:sldChg chg="del">
        <pc:chgData name="Darius Kuddo" userId="da7555aa-d650-4d73-b00b-d01e713f1329" providerId="ADAL" clId="{9A4B509C-EEE7-485A-994E-5919214B754D}" dt="2025-02-20T00:54:49.989" v="338" actId="47"/>
        <pc:sldMkLst>
          <pc:docMk/>
          <pc:sldMk cId="3115959954" sldId="269"/>
        </pc:sldMkLst>
      </pc:sldChg>
      <pc:sldChg chg="delSp modSp del mod">
        <pc:chgData name="Darius Kuddo" userId="da7555aa-d650-4d73-b00b-d01e713f1329" providerId="ADAL" clId="{9A4B509C-EEE7-485A-994E-5919214B754D}" dt="2025-02-20T01:26:00.517" v="1655" actId="47"/>
        <pc:sldMkLst>
          <pc:docMk/>
          <pc:sldMk cId="3909291962" sldId="270"/>
        </pc:sldMkLst>
        <pc:spChg chg="del">
          <ac:chgData name="Darius Kuddo" userId="da7555aa-d650-4d73-b00b-d01e713f1329" providerId="ADAL" clId="{9A4B509C-EEE7-485A-994E-5919214B754D}" dt="2025-02-20T01:15:53.620" v="1268" actId="478"/>
          <ac:spMkLst>
            <pc:docMk/>
            <pc:sldMk cId="3909291962" sldId="270"/>
            <ac:spMk id="54" creationId="{8DEE7090-7667-AB91-FC1C-C26FFA99459E}"/>
          </ac:spMkLst>
        </pc:spChg>
        <pc:spChg chg="del">
          <ac:chgData name="Darius Kuddo" userId="da7555aa-d650-4d73-b00b-d01e713f1329" providerId="ADAL" clId="{9A4B509C-EEE7-485A-994E-5919214B754D}" dt="2025-02-20T01:15:53.620" v="1268" actId="478"/>
          <ac:spMkLst>
            <pc:docMk/>
            <pc:sldMk cId="3909291962" sldId="270"/>
            <ac:spMk id="55" creationId="{EE52BD0A-3A73-8908-6407-C3E2F992E0F2}"/>
          </ac:spMkLst>
        </pc:spChg>
        <pc:spChg chg="del">
          <ac:chgData name="Darius Kuddo" userId="da7555aa-d650-4d73-b00b-d01e713f1329" providerId="ADAL" clId="{9A4B509C-EEE7-485A-994E-5919214B754D}" dt="2025-02-20T01:15:59.636" v="1271" actId="478"/>
          <ac:spMkLst>
            <pc:docMk/>
            <pc:sldMk cId="3909291962" sldId="270"/>
            <ac:spMk id="56" creationId="{B16BCD13-3A7B-1815-8F36-9822D601AB56}"/>
          </ac:spMkLst>
        </pc:spChg>
        <pc:spChg chg="del">
          <ac:chgData name="Darius Kuddo" userId="da7555aa-d650-4d73-b00b-d01e713f1329" providerId="ADAL" clId="{9A4B509C-EEE7-485A-994E-5919214B754D}" dt="2025-02-20T01:15:59.636" v="1271" actId="478"/>
          <ac:spMkLst>
            <pc:docMk/>
            <pc:sldMk cId="3909291962" sldId="270"/>
            <ac:spMk id="57" creationId="{BBF61AB6-66FD-EC8B-E347-98E4FF292672}"/>
          </ac:spMkLst>
        </pc:spChg>
        <pc:spChg chg="del">
          <ac:chgData name="Darius Kuddo" userId="da7555aa-d650-4d73-b00b-d01e713f1329" providerId="ADAL" clId="{9A4B509C-EEE7-485A-994E-5919214B754D}" dt="2025-02-20T01:15:55.829" v="1269" actId="478"/>
          <ac:spMkLst>
            <pc:docMk/>
            <pc:sldMk cId="3909291962" sldId="270"/>
            <ac:spMk id="58" creationId="{DC705314-6FBB-3FC4-8832-A8F4CBE86A68}"/>
          </ac:spMkLst>
        </pc:spChg>
        <pc:spChg chg="del">
          <ac:chgData name="Darius Kuddo" userId="da7555aa-d650-4d73-b00b-d01e713f1329" providerId="ADAL" clId="{9A4B509C-EEE7-485A-994E-5919214B754D}" dt="2025-02-20T01:15:55.829" v="1269" actId="478"/>
          <ac:spMkLst>
            <pc:docMk/>
            <pc:sldMk cId="3909291962" sldId="270"/>
            <ac:spMk id="59" creationId="{DC68978C-21BE-8850-5A20-C21E8B909305}"/>
          </ac:spMkLst>
        </pc:spChg>
        <pc:spChg chg="del">
          <ac:chgData name="Darius Kuddo" userId="da7555aa-d650-4d73-b00b-d01e713f1329" providerId="ADAL" clId="{9A4B509C-EEE7-485A-994E-5919214B754D}" dt="2025-02-20T01:15:53.620" v="1268" actId="478"/>
          <ac:spMkLst>
            <pc:docMk/>
            <pc:sldMk cId="3909291962" sldId="270"/>
            <ac:spMk id="60" creationId="{E6005950-6C24-DC7E-BDF7-337428FBA277}"/>
          </ac:spMkLst>
        </pc:spChg>
        <pc:spChg chg="del">
          <ac:chgData name="Darius Kuddo" userId="da7555aa-d650-4d73-b00b-d01e713f1329" providerId="ADAL" clId="{9A4B509C-EEE7-485A-994E-5919214B754D}" dt="2025-02-20T01:15:53.620" v="1268" actId="478"/>
          <ac:spMkLst>
            <pc:docMk/>
            <pc:sldMk cId="3909291962" sldId="270"/>
            <ac:spMk id="61" creationId="{09D82631-DAB8-B14F-6995-BB6346C98545}"/>
          </ac:spMkLst>
        </pc:spChg>
        <pc:spChg chg="del">
          <ac:chgData name="Darius Kuddo" userId="da7555aa-d650-4d73-b00b-d01e713f1329" providerId="ADAL" clId="{9A4B509C-EEE7-485A-994E-5919214B754D}" dt="2025-02-20T01:15:58.197" v="1270" actId="478"/>
          <ac:spMkLst>
            <pc:docMk/>
            <pc:sldMk cId="3909291962" sldId="270"/>
            <ac:spMk id="64" creationId="{34F83E33-E17C-145D-345F-14D276E9B9F5}"/>
          </ac:spMkLst>
        </pc:spChg>
        <pc:spChg chg="del">
          <ac:chgData name="Darius Kuddo" userId="da7555aa-d650-4d73-b00b-d01e713f1329" providerId="ADAL" clId="{9A4B509C-EEE7-485A-994E-5919214B754D}" dt="2025-02-20T01:15:58.197" v="1270" actId="478"/>
          <ac:spMkLst>
            <pc:docMk/>
            <pc:sldMk cId="3909291962" sldId="270"/>
            <ac:spMk id="65" creationId="{42645AF3-5537-385B-C130-68300A1C7F55}"/>
          </ac:spMkLst>
        </pc:spChg>
        <pc:graphicFrameChg chg="modGraphic">
          <ac:chgData name="Darius Kuddo" userId="da7555aa-d650-4d73-b00b-d01e713f1329" providerId="ADAL" clId="{9A4B509C-EEE7-485A-994E-5919214B754D}" dt="2025-02-20T01:14:48.723" v="1263" actId="20577"/>
          <ac:graphicFrameMkLst>
            <pc:docMk/>
            <pc:sldMk cId="3909291962" sldId="270"/>
            <ac:graphicFrameMk id="2" creationId="{F3B9234B-46B5-42DF-BF0B-6CB49C3D86D0}"/>
          </ac:graphicFrameMkLst>
        </pc:graphicFrameChg>
        <pc:picChg chg="del">
          <ac:chgData name="Darius Kuddo" userId="da7555aa-d650-4d73-b00b-d01e713f1329" providerId="ADAL" clId="{9A4B509C-EEE7-485A-994E-5919214B754D}" dt="2025-02-20T01:15:59.636" v="1271" actId="478"/>
          <ac:picMkLst>
            <pc:docMk/>
            <pc:sldMk cId="3909291962" sldId="270"/>
            <ac:picMk id="70" creationId="{1145D380-5440-64C6-8579-BC15DDA63545}"/>
          </ac:picMkLst>
        </pc:picChg>
        <pc:picChg chg="del">
          <ac:chgData name="Darius Kuddo" userId="da7555aa-d650-4d73-b00b-d01e713f1329" providerId="ADAL" clId="{9A4B509C-EEE7-485A-994E-5919214B754D}" dt="2025-02-20T01:15:55.829" v="1269" actId="478"/>
          <ac:picMkLst>
            <pc:docMk/>
            <pc:sldMk cId="3909291962" sldId="270"/>
            <ac:picMk id="76" creationId="{1C327A81-4AC4-12FD-B812-AB55811577F8}"/>
          </ac:picMkLst>
        </pc:picChg>
        <pc:picChg chg="del">
          <ac:chgData name="Darius Kuddo" userId="da7555aa-d650-4d73-b00b-d01e713f1329" providerId="ADAL" clId="{9A4B509C-EEE7-485A-994E-5919214B754D}" dt="2025-02-20T01:15:58.197" v="1270" actId="478"/>
          <ac:picMkLst>
            <pc:docMk/>
            <pc:sldMk cId="3909291962" sldId="270"/>
            <ac:picMk id="77" creationId="{BF437661-81C6-C343-6721-A9E604462C13}"/>
          </ac:picMkLst>
        </pc:picChg>
        <pc:picChg chg="del">
          <ac:chgData name="Darius Kuddo" userId="da7555aa-d650-4d73-b00b-d01e713f1329" providerId="ADAL" clId="{9A4B509C-EEE7-485A-994E-5919214B754D}" dt="2025-02-20T01:15:53.620" v="1268" actId="478"/>
          <ac:picMkLst>
            <pc:docMk/>
            <pc:sldMk cId="3909291962" sldId="270"/>
            <ac:picMk id="79" creationId="{8995F388-E0C0-A467-0995-2F3535EBD943}"/>
          </ac:picMkLst>
        </pc:picChg>
        <pc:picChg chg="del">
          <ac:chgData name="Darius Kuddo" userId="da7555aa-d650-4d73-b00b-d01e713f1329" providerId="ADAL" clId="{9A4B509C-EEE7-485A-994E-5919214B754D}" dt="2025-02-20T01:15:53.620" v="1268" actId="478"/>
          <ac:picMkLst>
            <pc:docMk/>
            <pc:sldMk cId="3909291962" sldId="270"/>
            <ac:picMk id="82" creationId="{752FB830-B39F-D70D-1351-485165821204}"/>
          </ac:picMkLst>
        </pc:picChg>
        <pc:picChg chg="del">
          <ac:chgData name="Darius Kuddo" userId="da7555aa-d650-4d73-b00b-d01e713f1329" providerId="ADAL" clId="{9A4B509C-EEE7-485A-994E-5919214B754D}" dt="2025-02-20T01:15:53.620" v="1268" actId="478"/>
          <ac:picMkLst>
            <pc:docMk/>
            <pc:sldMk cId="3909291962" sldId="270"/>
            <ac:picMk id="85" creationId="{A1C0F862-4F31-FDA1-35D1-FA178B63A345}"/>
          </ac:picMkLst>
        </pc:picChg>
        <pc:picChg chg="del">
          <ac:chgData name="Darius Kuddo" userId="da7555aa-d650-4d73-b00b-d01e713f1329" providerId="ADAL" clId="{9A4B509C-EEE7-485A-994E-5919214B754D}" dt="2025-02-20T01:15:59.636" v="1271" actId="478"/>
          <ac:picMkLst>
            <pc:docMk/>
            <pc:sldMk cId="3909291962" sldId="270"/>
            <ac:picMk id="88" creationId="{640C37E3-727A-3DEC-9118-B58CD701395D}"/>
          </ac:picMkLst>
        </pc:picChg>
        <pc:picChg chg="del">
          <ac:chgData name="Darius Kuddo" userId="da7555aa-d650-4d73-b00b-d01e713f1329" providerId="ADAL" clId="{9A4B509C-EEE7-485A-994E-5919214B754D}" dt="2025-02-20T01:15:55.829" v="1269" actId="478"/>
          <ac:picMkLst>
            <pc:docMk/>
            <pc:sldMk cId="3909291962" sldId="270"/>
            <ac:picMk id="93" creationId="{07343B4D-25CF-6289-FD06-5EA9E4B8412F}"/>
          </ac:picMkLst>
        </pc:picChg>
        <pc:picChg chg="del">
          <ac:chgData name="Darius Kuddo" userId="da7555aa-d650-4d73-b00b-d01e713f1329" providerId="ADAL" clId="{9A4B509C-EEE7-485A-994E-5919214B754D}" dt="2025-02-20T01:15:58.197" v="1270" actId="478"/>
          <ac:picMkLst>
            <pc:docMk/>
            <pc:sldMk cId="3909291962" sldId="270"/>
            <ac:picMk id="94" creationId="{6856E633-A10A-3E46-FC09-78F77D1800DF}"/>
          </ac:picMkLst>
        </pc:picChg>
        <pc:picChg chg="del">
          <ac:chgData name="Darius Kuddo" userId="da7555aa-d650-4d73-b00b-d01e713f1329" providerId="ADAL" clId="{9A4B509C-EEE7-485A-994E-5919214B754D}" dt="2025-02-20T01:15:53.620" v="1268" actId="478"/>
          <ac:picMkLst>
            <pc:docMk/>
            <pc:sldMk cId="3909291962" sldId="270"/>
            <ac:picMk id="95" creationId="{42D6D71A-7162-6A3C-0224-7709EBD8D0D5}"/>
          </ac:picMkLst>
        </pc:picChg>
      </pc:sldChg>
      <pc:sldChg chg="modSp del mod">
        <pc:chgData name="Darius Kuddo" userId="da7555aa-d650-4d73-b00b-d01e713f1329" providerId="ADAL" clId="{9A4B509C-EEE7-485A-994E-5919214B754D}" dt="2025-02-20T01:36:28.617" v="1955" actId="47"/>
        <pc:sldMkLst>
          <pc:docMk/>
          <pc:sldMk cId="483432745" sldId="271"/>
        </pc:sldMkLst>
        <pc:graphicFrameChg chg="modGraphic">
          <ac:chgData name="Darius Kuddo" userId="da7555aa-d650-4d73-b00b-d01e713f1329" providerId="ADAL" clId="{9A4B509C-EEE7-485A-994E-5919214B754D}" dt="2025-02-20T01:14:53.451" v="1267" actId="20577"/>
          <ac:graphicFrameMkLst>
            <pc:docMk/>
            <pc:sldMk cId="483432745" sldId="271"/>
            <ac:graphicFrameMk id="2" creationId="{F3B9234B-46B5-42DF-BF0B-6CB49C3D86D0}"/>
          </ac:graphicFrameMkLst>
        </pc:graphicFrameChg>
      </pc:sldChg>
      <pc:sldChg chg="modSp mod">
        <pc:chgData name="Darius Kuddo" userId="da7555aa-d650-4d73-b00b-d01e713f1329" providerId="ADAL" clId="{9A4B509C-EEE7-485A-994E-5919214B754D}" dt="2025-02-20T02:28:46.718" v="4604"/>
        <pc:sldMkLst>
          <pc:docMk/>
          <pc:sldMk cId="3648087484" sldId="272"/>
        </pc:sldMkLst>
        <pc:graphicFrameChg chg="mod modGraphic">
          <ac:chgData name="Darius Kuddo" userId="da7555aa-d650-4d73-b00b-d01e713f1329" providerId="ADAL" clId="{9A4B509C-EEE7-485A-994E-5919214B754D}" dt="2025-02-20T02:28:46.718" v="4604"/>
          <ac:graphicFrameMkLst>
            <pc:docMk/>
            <pc:sldMk cId="3648087484" sldId="272"/>
            <ac:graphicFrameMk id="2" creationId="{F3B9234B-46B5-42DF-BF0B-6CB49C3D86D0}"/>
          </ac:graphicFrameMkLst>
        </pc:graphicFrameChg>
      </pc:sldChg>
      <pc:sldChg chg="modSp del mod">
        <pc:chgData name="Darius Kuddo" userId="da7555aa-d650-4d73-b00b-d01e713f1329" providerId="ADAL" clId="{9A4B509C-EEE7-485A-994E-5919214B754D}" dt="2025-02-20T01:39:09.138" v="1970" actId="47"/>
        <pc:sldMkLst>
          <pc:docMk/>
          <pc:sldMk cId="3062533537" sldId="274"/>
        </pc:sldMkLst>
        <pc:graphicFrameChg chg="modGraphic">
          <ac:chgData name="Darius Kuddo" userId="da7555aa-d650-4d73-b00b-d01e713f1329" providerId="ADAL" clId="{9A4B509C-EEE7-485A-994E-5919214B754D}" dt="2025-02-20T01:09:15.510" v="1241" actId="20577"/>
          <ac:graphicFrameMkLst>
            <pc:docMk/>
            <pc:sldMk cId="3062533537" sldId="274"/>
            <ac:graphicFrameMk id="2" creationId="{F3B9234B-46B5-42DF-BF0B-6CB49C3D86D0}"/>
          </ac:graphicFrameMkLst>
        </pc:graphicFrameChg>
      </pc:sldChg>
      <pc:sldChg chg="addSp delSp modSp del mod">
        <pc:chgData name="Darius Kuddo" userId="da7555aa-d650-4d73-b00b-d01e713f1329" providerId="ADAL" clId="{9A4B509C-EEE7-485A-994E-5919214B754D}" dt="2025-02-20T01:53:54.482" v="2219" actId="47"/>
        <pc:sldMkLst>
          <pc:docMk/>
          <pc:sldMk cId="3739907698" sldId="275"/>
        </pc:sldMkLst>
        <pc:spChg chg="del">
          <ac:chgData name="Darius Kuddo" userId="da7555aa-d650-4d73-b00b-d01e713f1329" providerId="ADAL" clId="{9A4B509C-EEE7-485A-994E-5919214B754D}" dt="2025-02-20T01:51:48.244" v="2200" actId="478"/>
          <ac:spMkLst>
            <pc:docMk/>
            <pc:sldMk cId="3739907698" sldId="275"/>
            <ac:spMk id="11" creationId="{8C305EC8-D46A-722C-EFCD-C7ADC5667947}"/>
          </ac:spMkLst>
        </pc:spChg>
        <pc:spChg chg="mod">
          <ac:chgData name="Darius Kuddo" userId="da7555aa-d650-4d73-b00b-d01e713f1329" providerId="ADAL" clId="{9A4B509C-EEE7-485A-994E-5919214B754D}" dt="2025-02-20T01:42:18.039" v="2014"/>
          <ac:spMkLst>
            <pc:docMk/>
            <pc:sldMk cId="3739907698" sldId="275"/>
            <ac:spMk id="13" creationId="{9546A375-808B-6867-1162-BF4D93370547}"/>
          </ac:spMkLst>
        </pc:spChg>
        <pc:spChg chg="mod">
          <ac:chgData name="Darius Kuddo" userId="da7555aa-d650-4d73-b00b-d01e713f1329" providerId="ADAL" clId="{9A4B509C-EEE7-485A-994E-5919214B754D}" dt="2025-02-20T01:42:18.039" v="2014"/>
          <ac:spMkLst>
            <pc:docMk/>
            <pc:sldMk cId="3739907698" sldId="275"/>
            <ac:spMk id="15" creationId="{EBEE0DDB-3BB9-509D-9440-B9544203ED95}"/>
          </ac:spMkLst>
        </pc:spChg>
        <pc:spChg chg="mod">
          <ac:chgData name="Darius Kuddo" userId="da7555aa-d650-4d73-b00b-d01e713f1329" providerId="ADAL" clId="{9A4B509C-EEE7-485A-994E-5919214B754D}" dt="2025-02-20T01:42:18.039" v="2014"/>
          <ac:spMkLst>
            <pc:docMk/>
            <pc:sldMk cId="3739907698" sldId="275"/>
            <ac:spMk id="16" creationId="{C222DB93-5F94-A013-3942-F154D98E330C}"/>
          </ac:spMkLst>
        </pc:spChg>
        <pc:spChg chg="mod">
          <ac:chgData name="Darius Kuddo" userId="da7555aa-d650-4d73-b00b-d01e713f1329" providerId="ADAL" clId="{9A4B509C-EEE7-485A-994E-5919214B754D}" dt="2025-02-20T01:42:18.039" v="2014"/>
          <ac:spMkLst>
            <pc:docMk/>
            <pc:sldMk cId="3739907698" sldId="275"/>
            <ac:spMk id="17" creationId="{A159A662-8A31-BE3E-57D3-7E01224CDF8A}"/>
          </ac:spMkLst>
        </pc:spChg>
        <pc:spChg chg="mod">
          <ac:chgData name="Darius Kuddo" userId="da7555aa-d650-4d73-b00b-d01e713f1329" providerId="ADAL" clId="{9A4B509C-EEE7-485A-994E-5919214B754D}" dt="2025-02-20T01:42:18.039" v="2014"/>
          <ac:spMkLst>
            <pc:docMk/>
            <pc:sldMk cId="3739907698" sldId="275"/>
            <ac:spMk id="18" creationId="{D5BC6EAE-F8C9-4687-E1A9-D8095AC4C51E}"/>
          </ac:spMkLst>
        </pc:spChg>
        <pc:spChg chg="add mod">
          <ac:chgData name="Darius Kuddo" userId="da7555aa-d650-4d73-b00b-d01e713f1329" providerId="ADAL" clId="{9A4B509C-EEE7-485A-994E-5919214B754D}" dt="2025-02-20T01:51:45.199" v="2199"/>
          <ac:spMkLst>
            <pc:docMk/>
            <pc:sldMk cId="3739907698" sldId="275"/>
            <ac:spMk id="21" creationId="{5D2D5310-35D3-C673-28D5-B3B965065F0E}"/>
          </ac:spMkLst>
        </pc:spChg>
        <pc:spChg chg="add mod">
          <ac:chgData name="Darius Kuddo" userId="da7555aa-d650-4d73-b00b-d01e713f1329" providerId="ADAL" clId="{9A4B509C-EEE7-485A-994E-5919214B754D}" dt="2025-02-20T01:51:45.199" v="2199"/>
          <ac:spMkLst>
            <pc:docMk/>
            <pc:sldMk cId="3739907698" sldId="275"/>
            <ac:spMk id="22" creationId="{341AB252-E571-17E5-7FEE-69E69BCCB74A}"/>
          </ac:spMkLst>
        </pc:spChg>
        <pc:spChg chg="add mod">
          <ac:chgData name="Darius Kuddo" userId="da7555aa-d650-4d73-b00b-d01e713f1329" providerId="ADAL" clId="{9A4B509C-EEE7-485A-994E-5919214B754D}" dt="2025-02-20T01:51:45.199" v="2199"/>
          <ac:spMkLst>
            <pc:docMk/>
            <pc:sldMk cId="3739907698" sldId="275"/>
            <ac:spMk id="23" creationId="{9BB12032-CA0A-D197-2AD5-FA2E35B5C4A4}"/>
          </ac:spMkLst>
        </pc:spChg>
        <pc:spChg chg="mod">
          <ac:chgData name="Darius Kuddo" userId="da7555aa-d650-4d73-b00b-d01e713f1329" providerId="ADAL" clId="{9A4B509C-EEE7-485A-994E-5919214B754D}" dt="2025-02-20T01:51:45.199" v="2199"/>
          <ac:spMkLst>
            <pc:docMk/>
            <pc:sldMk cId="3739907698" sldId="275"/>
            <ac:spMk id="25" creationId="{0D07A789-6DC6-85D9-2F4D-F23399489B68}"/>
          </ac:spMkLst>
        </pc:spChg>
        <pc:spChg chg="mod">
          <ac:chgData name="Darius Kuddo" userId="da7555aa-d650-4d73-b00b-d01e713f1329" providerId="ADAL" clId="{9A4B509C-EEE7-485A-994E-5919214B754D}" dt="2025-02-20T01:51:45.199" v="2199"/>
          <ac:spMkLst>
            <pc:docMk/>
            <pc:sldMk cId="3739907698" sldId="275"/>
            <ac:spMk id="26" creationId="{BC01DDE4-8268-1864-646E-92C940D718D2}"/>
          </ac:spMkLst>
        </pc:spChg>
        <pc:spChg chg="mod">
          <ac:chgData name="Darius Kuddo" userId="da7555aa-d650-4d73-b00b-d01e713f1329" providerId="ADAL" clId="{9A4B509C-EEE7-485A-994E-5919214B754D}" dt="2025-02-20T01:51:45.199" v="2199"/>
          <ac:spMkLst>
            <pc:docMk/>
            <pc:sldMk cId="3739907698" sldId="275"/>
            <ac:spMk id="27" creationId="{8BE59A1C-447A-6564-E9CD-4EC57B010A30}"/>
          </ac:spMkLst>
        </pc:spChg>
        <pc:spChg chg="mod">
          <ac:chgData name="Darius Kuddo" userId="da7555aa-d650-4d73-b00b-d01e713f1329" providerId="ADAL" clId="{9A4B509C-EEE7-485A-994E-5919214B754D}" dt="2025-02-20T01:51:45.199" v="2199"/>
          <ac:spMkLst>
            <pc:docMk/>
            <pc:sldMk cId="3739907698" sldId="275"/>
            <ac:spMk id="28" creationId="{F45A7FC5-DFE7-036F-BF2F-4ABD4AACE1D1}"/>
          </ac:spMkLst>
        </pc:spChg>
        <pc:spChg chg="mod">
          <ac:chgData name="Darius Kuddo" userId="da7555aa-d650-4d73-b00b-d01e713f1329" providerId="ADAL" clId="{9A4B509C-EEE7-485A-994E-5919214B754D}" dt="2025-02-20T01:51:45.199" v="2199"/>
          <ac:spMkLst>
            <pc:docMk/>
            <pc:sldMk cId="3739907698" sldId="275"/>
            <ac:spMk id="29" creationId="{FBBE4C12-194B-C4B3-CA01-56E3CC414273}"/>
          </ac:spMkLst>
        </pc:spChg>
        <pc:spChg chg="mod">
          <ac:chgData name="Darius Kuddo" userId="da7555aa-d650-4d73-b00b-d01e713f1329" providerId="ADAL" clId="{9A4B509C-EEE7-485A-994E-5919214B754D}" dt="2025-02-20T01:51:45.199" v="2199"/>
          <ac:spMkLst>
            <pc:docMk/>
            <pc:sldMk cId="3739907698" sldId="275"/>
            <ac:spMk id="34" creationId="{69ECA945-5DC5-86FB-6BAE-64830B1379AE}"/>
          </ac:spMkLst>
        </pc:spChg>
        <pc:spChg chg="mod">
          <ac:chgData name="Darius Kuddo" userId="da7555aa-d650-4d73-b00b-d01e713f1329" providerId="ADAL" clId="{9A4B509C-EEE7-485A-994E-5919214B754D}" dt="2025-02-20T01:51:45.199" v="2199"/>
          <ac:spMkLst>
            <pc:docMk/>
            <pc:sldMk cId="3739907698" sldId="275"/>
            <ac:spMk id="35" creationId="{251C3D2A-CF1B-1D91-6457-2E201328E972}"/>
          </ac:spMkLst>
        </pc:spChg>
        <pc:spChg chg="mod">
          <ac:chgData name="Darius Kuddo" userId="da7555aa-d650-4d73-b00b-d01e713f1329" providerId="ADAL" clId="{9A4B509C-EEE7-485A-994E-5919214B754D}" dt="2025-02-20T01:51:45.199" v="2199"/>
          <ac:spMkLst>
            <pc:docMk/>
            <pc:sldMk cId="3739907698" sldId="275"/>
            <ac:spMk id="36" creationId="{1AA7F3E8-5AE5-8B80-476F-9ABD06C2C64F}"/>
          </ac:spMkLst>
        </pc:spChg>
        <pc:spChg chg="mod">
          <ac:chgData name="Darius Kuddo" userId="da7555aa-d650-4d73-b00b-d01e713f1329" providerId="ADAL" clId="{9A4B509C-EEE7-485A-994E-5919214B754D}" dt="2025-02-20T01:51:45.199" v="2199"/>
          <ac:spMkLst>
            <pc:docMk/>
            <pc:sldMk cId="3739907698" sldId="275"/>
            <ac:spMk id="37" creationId="{2CEBE6AB-3A92-53D2-7F23-71E893C2C23F}"/>
          </ac:spMkLst>
        </pc:spChg>
        <pc:spChg chg="add mod">
          <ac:chgData name="Darius Kuddo" userId="da7555aa-d650-4d73-b00b-d01e713f1329" providerId="ADAL" clId="{9A4B509C-EEE7-485A-994E-5919214B754D}" dt="2025-02-20T01:51:45.199" v="2199"/>
          <ac:spMkLst>
            <pc:docMk/>
            <pc:sldMk cId="3739907698" sldId="275"/>
            <ac:spMk id="40" creationId="{E74A22B8-0900-97C0-ECFC-A00969B96BA3}"/>
          </ac:spMkLst>
        </pc:spChg>
        <pc:spChg chg="add mod">
          <ac:chgData name="Darius Kuddo" userId="da7555aa-d650-4d73-b00b-d01e713f1329" providerId="ADAL" clId="{9A4B509C-EEE7-485A-994E-5919214B754D}" dt="2025-02-20T01:51:45.199" v="2199"/>
          <ac:spMkLst>
            <pc:docMk/>
            <pc:sldMk cId="3739907698" sldId="275"/>
            <ac:spMk id="41" creationId="{2B3D6EA2-B9C7-A749-622F-0EACA8C86C7E}"/>
          </ac:spMkLst>
        </pc:spChg>
        <pc:spChg chg="add mod">
          <ac:chgData name="Darius Kuddo" userId="da7555aa-d650-4d73-b00b-d01e713f1329" providerId="ADAL" clId="{9A4B509C-EEE7-485A-994E-5919214B754D}" dt="2025-02-20T01:51:45.199" v="2199"/>
          <ac:spMkLst>
            <pc:docMk/>
            <pc:sldMk cId="3739907698" sldId="275"/>
            <ac:spMk id="42" creationId="{4755886E-E443-4CD9-A355-A23C2029F900}"/>
          </ac:spMkLst>
        </pc:spChg>
        <pc:spChg chg="add mod">
          <ac:chgData name="Darius Kuddo" userId="da7555aa-d650-4d73-b00b-d01e713f1329" providerId="ADAL" clId="{9A4B509C-EEE7-485A-994E-5919214B754D}" dt="2025-02-20T01:51:45.199" v="2199"/>
          <ac:spMkLst>
            <pc:docMk/>
            <pc:sldMk cId="3739907698" sldId="275"/>
            <ac:spMk id="43" creationId="{A1EA5712-EBA6-4DCA-F383-9C94BCA8B24D}"/>
          </ac:spMkLst>
        </pc:spChg>
        <pc:spChg chg="del">
          <ac:chgData name="Darius Kuddo" userId="da7555aa-d650-4d73-b00b-d01e713f1329" providerId="ADAL" clId="{9A4B509C-EEE7-485A-994E-5919214B754D}" dt="2025-02-20T01:51:48.244" v="2200" actId="478"/>
          <ac:spMkLst>
            <pc:docMk/>
            <pc:sldMk cId="3739907698" sldId="275"/>
            <ac:spMk id="44" creationId="{3290003A-D880-5986-5CF3-F46738BCDC29}"/>
          </ac:spMkLst>
        </pc:spChg>
        <pc:spChg chg="del">
          <ac:chgData name="Darius Kuddo" userId="da7555aa-d650-4d73-b00b-d01e713f1329" providerId="ADAL" clId="{9A4B509C-EEE7-485A-994E-5919214B754D}" dt="2025-02-20T01:51:48.244" v="2200" actId="478"/>
          <ac:spMkLst>
            <pc:docMk/>
            <pc:sldMk cId="3739907698" sldId="275"/>
            <ac:spMk id="45" creationId="{D869AA88-8422-21E3-92AA-00D95C624D1B}"/>
          </ac:spMkLst>
        </pc:spChg>
        <pc:spChg chg="del">
          <ac:chgData name="Darius Kuddo" userId="da7555aa-d650-4d73-b00b-d01e713f1329" providerId="ADAL" clId="{9A4B509C-EEE7-485A-994E-5919214B754D}" dt="2025-02-20T01:51:48.244" v="2200" actId="478"/>
          <ac:spMkLst>
            <pc:docMk/>
            <pc:sldMk cId="3739907698" sldId="275"/>
            <ac:spMk id="46" creationId="{0D21B1FC-69DD-B44C-B7A3-C64B91C1AD1E}"/>
          </ac:spMkLst>
        </pc:spChg>
        <pc:spChg chg="del">
          <ac:chgData name="Darius Kuddo" userId="da7555aa-d650-4d73-b00b-d01e713f1329" providerId="ADAL" clId="{9A4B509C-EEE7-485A-994E-5919214B754D}" dt="2025-02-20T01:51:48.244" v="2200" actId="478"/>
          <ac:spMkLst>
            <pc:docMk/>
            <pc:sldMk cId="3739907698" sldId="275"/>
            <ac:spMk id="47" creationId="{4F085618-076C-9FCB-6819-9D9CEEF39699}"/>
          </ac:spMkLst>
        </pc:spChg>
        <pc:spChg chg="del">
          <ac:chgData name="Darius Kuddo" userId="da7555aa-d650-4d73-b00b-d01e713f1329" providerId="ADAL" clId="{9A4B509C-EEE7-485A-994E-5919214B754D}" dt="2025-02-20T01:51:48.244" v="2200" actId="478"/>
          <ac:spMkLst>
            <pc:docMk/>
            <pc:sldMk cId="3739907698" sldId="275"/>
            <ac:spMk id="48" creationId="{C10484E8-8967-C6F4-73BA-91ECB5F18F55}"/>
          </ac:spMkLst>
        </pc:spChg>
        <pc:spChg chg="del">
          <ac:chgData name="Darius Kuddo" userId="da7555aa-d650-4d73-b00b-d01e713f1329" providerId="ADAL" clId="{9A4B509C-EEE7-485A-994E-5919214B754D}" dt="2025-02-20T01:51:48.244" v="2200" actId="478"/>
          <ac:spMkLst>
            <pc:docMk/>
            <pc:sldMk cId="3739907698" sldId="275"/>
            <ac:spMk id="49" creationId="{D4A50C9F-1F75-AFCB-5FB3-4366F6450B84}"/>
          </ac:spMkLst>
        </pc:spChg>
        <pc:spChg chg="del">
          <ac:chgData name="Darius Kuddo" userId="da7555aa-d650-4d73-b00b-d01e713f1329" providerId="ADAL" clId="{9A4B509C-EEE7-485A-994E-5919214B754D}" dt="2025-02-20T01:51:48.244" v="2200" actId="478"/>
          <ac:spMkLst>
            <pc:docMk/>
            <pc:sldMk cId="3739907698" sldId="275"/>
            <ac:spMk id="50" creationId="{0638CA0C-4C7B-B504-54A4-962013608A49}"/>
          </ac:spMkLst>
        </pc:spChg>
        <pc:spChg chg="del">
          <ac:chgData name="Darius Kuddo" userId="da7555aa-d650-4d73-b00b-d01e713f1329" providerId="ADAL" clId="{9A4B509C-EEE7-485A-994E-5919214B754D}" dt="2025-02-20T01:51:48.244" v="2200" actId="478"/>
          <ac:spMkLst>
            <pc:docMk/>
            <pc:sldMk cId="3739907698" sldId="275"/>
            <ac:spMk id="51" creationId="{3AA35068-0322-4180-56C2-56182C6FA979}"/>
          </ac:spMkLst>
        </pc:spChg>
        <pc:spChg chg="del">
          <ac:chgData name="Darius Kuddo" userId="da7555aa-d650-4d73-b00b-d01e713f1329" providerId="ADAL" clId="{9A4B509C-EEE7-485A-994E-5919214B754D}" dt="2025-02-20T01:51:48.244" v="2200" actId="478"/>
          <ac:spMkLst>
            <pc:docMk/>
            <pc:sldMk cId="3739907698" sldId="275"/>
            <ac:spMk id="52" creationId="{4589A30D-EE0E-5ADC-CF84-038D4C8B10D1}"/>
          </ac:spMkLst>
        </pc:spChg>
        <pc:spChg chg="del">
          <ac:chgData name="Darius Kuddo" userId="da7555aa-d650-4d73-b00b-d01e713f1329" providerId="ADAL" clId="{9A4B509C-EEE7-485A-994E-5919214B754D}" dt="2025-02-20T01:51:48.244" v="2200" actId="478"/>
          <ac:spMkLst>
            <pc:docMk/>
            <pc:sldMk cId="3739907698" sldId="275"/>
            <ac:spMk id="53" creationId="{7286A4BF-8D74-D0A6-3D47-E8A9E559E5A2}"/>
          </ac:spMkLst>
        </pc:spChg>
        <pc:spChg chg="del">
          <ac:chgData name="Darius Kuddo" userId="da7555aa-d650-4d73-b00b-d01e713f1329" providerId="ADAL" clId="{9A4B509C-EEE7-485A-994E-5919214B754D}" dt="2025-02-20T01:51:48.244" v="2200" actId="478"/>
          <ac:spMkLst>
            <pc:docMk/>
            <pc:sldMk cId="3739907698" sldId="275"/>
            <ac:spMk id="54" creationId="{D4CE976E-196B-8DB8-558F-992C9E452AAE}"/>
          </ac:spMkLst>
        </pc:spChg>
        <pc:spChg chg="del">
          <ac:chgData name="Darius Kuddo" userId="da7555aa-d650-4d73-b00b-d01e713f1329" providerId="ADAL" clId="{9A4B509C-EEE7-485A-994E-5919214B754D}" dt="2025-02-20T01:51:48.244" v="2200" actId="478"/>
          <ac:spMkLst>
            <pc:docMk/>
            <pc:sldMk cId="3739907698" sldId="275"/>
            <ac:spMk id="55" creationId="{ACD0FE34-F67E-7625-7E3A-C7B6607BA9B0}"/>
          </ac:spMkLst>
        </pc:spChg>
        <pc:spChg chg="del">
          <ac:chgData name="Darius Kuddo" userId="da7555aa-d650-4d73-b00b-d01e713f1329" providerId="ADAL" clId="{9A4B509C-EEE7-485A-994E-5919214B754D}" dt="2025-02-20T01:51:48.244" v="2200" actId="478"/>
          <ac:spMkLst>
            <pc:docMk/>
            <pc:sldMk cId="3739907698" sldId="275"/>
            <ac:spMk id="56" creationId="{AA271B83-30BC-5FCC-6D1E-30CF41B241B3}"/>
          </ac:spMkLst>
        </pc:spChg>
        <pc:spChg chg="del">
          <ac:chgData name="Darius Kuddo" userId="da7555aa-d650-4d73-b00b-d01e713f1329" providerId="ADAL" clId="{9A4B509C-EEE7-485A-994E-5919214B754D}" dt="2025-02-20T01:51:48.244" v="2200" actId="478"/>
          <ac:spMkLst>
            <pc:docMk/>
            <pc:sldMk cId="3739907698" sldId="275"/>
            <ac:spMk id="60" creationId="{92CD0C36-74AB-F0CD-DE02-8A71F8E80BBB}"/>
          </ac:spMkLst>
        </pc:spChg>
        <pc:spChg chg="del">
          <ac:chgData name="Darius Kuddo" userId="da7555aa-d650-4d73-b00b-d01e713f1329" providerId="ADAL" clId="{9A4B509C-EEE7-485A-994E-5919214B754D}" dt="2025-02-20T01:51:48.244" v="2200" actId="478"/>
          <ac:spMkLst>
            <pc:docMk/>
            <pc:sldMk cId="3739907698" sldId="275"/>
            <ac:spMk id="61" creationId="{00518D6A-F2F5-2BED-C0A6-021056009B49}"/>
          </ac:spMkLst>
        </pc:spChg>
        <pc:spChg chg="del">
          <ac:chgData name="Darius Kuddo" userId="da7555aa-d650-4d73-b00b-d01e713f1329" providerId="ADAL" clId="{9A4B509C-EEE7-485A-994E-5919214B754D}" dt="2025-02-20T01:51:48.244" v="2200" actId="478"/>
          <ac:spMkLst>
            <pc:docMk/>
            <pc:sldMk cId="3739907698" sldId="275"/>
            <ac:spMk id="62" creationId="{1D00AC97-B77E-EB23-8B6C-9A5C654CC36F}"/>
          </ac:spMkLst>
        </pc:spChg>
        <pc:spChg chg="del">
          <ac:chgData name="Darius Kuddo" userId="da7555aa-d650-4d73-b00b-d01e713f1329" providerId="ADAL" clId="{9A4B509C-EEE7-485A-994E-5919214B754D}" dt="2025-02-20T01:51:48.244" v="2200" actId="478"/>
          <ac:spMkLst>
            <pc:docMk/>
            <pc:sldMk cId="3739907698" sldId="275"/>
            <ac:spMk id="63" creationId="{AE42D016-94A3-C58E-AF12-5B578E7AA3E8}"/>
          </ac:spMkLst>
        </pc:spChg>
        <pc:spChg chg="del">
          <ac:chgData name="Darius Kuddo" userId="da7555aa-d650-4d73-b00b-d01e713f1329" providerId="ADAL" clId="{9A4B509C-EEE7-485A-994E-5919214B754D}" dt="2025-02-20T01:51:48.244" v="2200" actId="478"/>
          <ac:spMkLst>
            <pc:docMk/>
            <pc:sldMk cId="3739907698" sldId="275"/>
            <ac:spMk id="64" creationId="{63E376B3-20BB-AE18-EFCA-2F30FECA03C1}"/>
          </ac:spMkLst>
        </pc:spChg>
        <pc:spChg chg="del">
          <ac:chgData name="Darius Kuddo" userId="da7555aa-d650-4d73-b00b-d01e713f1329" providerId="ADAL" clId="{9A4B509C-EEE7-485A-994E-5919214B754D}" dt="2025-02-20T01:51:48.244" v="2200" actId="478"/>
          <ac:spMkLst>
            <pc:docMk/>
            <pc:sldMk cId="3739907698" sldId="275"/>
            <ac:spMk id="65" creationId="{618BD5AB-4897-79F9-F09D-3E949DCCF894}"/>
          </ac:spMkLst>
        </pc:spChg>
        <pc:spChg chg="mod">
          <ac:chgData name="Darius Kuddo" userId="da7555aa-d650-4d73-b00b-d01e713f1329" providerId="ADAL" clId="{9A4B509C-EEE7-485A-994E-5919214B754D}" dt="2025-02-20T01:51:45.199" v="2199"/>
          <ac:spMkLst>
            <pc:docMk/>
            <pc:sldMk cId="3739907698" sldId="275"/>
            <ac:spMk id="66" creationId="{D27E0DBB-ABEE-99FA-FCFD-1B998A6D71D9}"/>
          </ac:spMkLst>
        </pc:spChg>
        <pc:spChg chg="del">
          <ac:chgData name="Darius Kuddo" userId="da7555aa-d650-4d73-b00b-d01e713f1329" providerId="ADAL" clId="{9A4B509C-EEE7-485A-994E-5919214B754D}" dt="2025-02-20T01:51:48.244" v="2200" actId="478"/>
          <ac:spMkLst>
            <pc:docMk/>
            <pc:sldMk cId="3739907698" sldId="275"/>
            <ac:spMk id="67" creationId="{DD45DBB6-004B-4CA5-2FCF-B68C02006968}"/>
          </ac:spMkLst>
        </pc:spChg>
        <pc:spChg chg="del">
          <ac:chgData name="Darius Kuddo" userId="da7555aa-d650-4d73-b00b-d01e713f1329" providerId="ADAL" clId="{9A4B509C-EEE7-485A-994E-5919214B754D}" dt="2025-02-20T01:51:48.244" v="2200" actId="478"/>
          <ac:spMkLst>
            <pc:docMk/>
            <pc:sldMk cId="3739907698" sldId="275"/>
            <ac:spMk id="68" creationId="{44A37594-F2FB-BBB1-55D5-19DFB452F4A9}"/>
          </ac:spMkLst>
        </pc:spChg>
        <pc:spChg chg="del">
          <ac:chgData name="Darius Kuddo" userId="da7555aa-d650-4d73-b00b-d01e713f1329" providerId="ADAL" clId="{9A4B509C-EEE7-485A-994E-5919214B754D}" dt="2025-02-20T01:51:48.244" v="2200" actId="478"/>
          <ac:spMkLst>
            <pc:docMk/>
            <pc:sldMk cId="3739907698" sldId="275"/>
            <ac:spMk id="69" creationId="{ABDA650B-972B-4071-5B94-2640F31D5361}"/>
          </ac:spMkLst>
        </pc:spChg>
        <pc:spChg chg="del">
          <ac:chgData name="Darius Kuddo" userId="da7555aa-d650-4d73-b00b-d01e713f1329" providerId="ADAL" clId="{9A4B509C-EEE7-485A-994E-5919214B754D}" dt="2025-02-20T01:51:48.244" v="2200" actId="478"/>
          <ac:spMkLst>
            <pc:docMk/>
            <pc:sldMk cId="3739907698" sldId="275"/>
            <ac:spMk id="70" creationId="{B2DDE013-57F4-B271-2B2D-47D1CDC7D725}"/>
          </ac:spMkLst>
        </pc:spChg>
        <pc:spChg chg="del">
          <ac:chgData name="Darius Kuddo" userId="da7555aa-d650-4d73-b00b-d01e713f1329" providerId="ADAL" clId="{9A4B509C-EEE7-485A-994E-5919214B754D}" dt="2025-02-20T01:51:48.244" v="2200" actId="478"/>
          <ac:spMkLst>
            <pc:docMk/>
            <pc:sldMk cId="3739907698" sldId="275"/>
            <ac:spMk id="71" creationId="{A04EFDFE-B936-CA73-8795-153E5CDBAE68}"/>
          </ac:spMkLst>
        </pc:spChg>
        <pc:spChg chg="del">
          <ac:chgData name="Darius Kuddo" userId="da7555aa-d650-4d73-b00b-d01e713f1329" providerId="ADAL" clId="{9A4B509C-EEE7-485A-994E-5919214B754D}" dt="2025-02-20T01:51:48.244" v="2200" actId="478"/>
          <ac:spMkLst>
            <pc:docMk/>
            <pc:sldMk cId="3739907698" sldId="275"/>
            <ac:spMk id="72" creationId="{7D736245-EF87-CB25-0ED1-7A8B3C7615D2}"/>
          </ac:spMkLst>
        </pc:spChg>
        <pc:spChg chg="mod">
          <ac:chgData name="Darius Kuddo" userId="da7555aa-d650-4d73-b00b-d01e713f1329" providerId="ADAL" clId="{9A4B509C-EEE7-485A-994E-5919214B754D}" dt="2025-02-20T01:51:45.199" v="2199"/>
          <ac:spMkLst>
            <pc:docMk/>
            <pc:sldMk cId="3739907698" sldId="275"/>
            <ac:spMk id="73" creationId="{3485D860-B7EA-4467-29CE-F66F8922450C}"/>
          </ac:spMkLst>
        </pc:spChg>
        <pc:spChg chg="del">
          <ac:chgData name="Darius Kuddo" userId="da7555aa-d650-4d73-b00b-d01e713f1329" providerId="ADAL" clId="{9A4B509C-EEE7-485A-994E-5919214B754D}" dt="2025-02-20T01:51:48.244" v="2200" actId="478"/>
          <ac:spMkLst>
            <pc:docMk/>
            <pc:sldMk cId="3739907698" sldId="275"/>
            <ac:spMk id="74" creationId="{46415804-4B41-450B-3289-BF3EC7C0E5EB}"/>
          </ac:spMkLst>
        </pc:spChg>
        <pc:spChg chg="del">
          <ac:chgData name="Darius Kuddo" userId="da7555aa-d650-4d73-b00b-d01e713f1329" providerId="ADAL" clId="{9A4B509C-EEE7-485A-994E-5919214B754D}" dt="2025-02-20T01:51:48.244" v="2200" actId="478"/>
          <ac:spMkLst>
            <pc:docMk/>
            <pc:sldMk cId="3739907698" sldId="275"/>
            <ac:spMk id="75" creationId="{2D62D24A-1F6B-2B7B-25C1-BE8FF101308A}"/>
          </ac:spMkLst>
        </pc:spChg>
        <pc:spChg chg="del">
          <ac:chgData name="Darius Kuddo" userId="da7555aa-d650-4d73-b00b-d01e713f1329" providerId="ADAL" clId="{9A4B509C-EEE7-485A-994E-5919214B754D}" dt="2025-02-20T01:51:48.244" v="2200" actId="478"/>
          <ac:spMkLst>
            <pc:docMk/>
            <pc:sldMk cId="3739907698" sldId="275"/>
            <ac:spMk id="76" creationId="{D79C7FE6-A93E-16C3-55FF-D5C709BE92BC}"/>
          </ac:spMkLst>
        </pc:spChg>
        <pc:spChg chg="del">
          <ac:chgData name="Darius Kuddo" userId="da7555aa-d650-4d73-b00b-d01e713f1329" providerId="ADAL" clId="{9A4B509C-EEE7-485A-994E-5919214B754D}" dt="2025-02-20T01:51:48.244" v="2200" actId="478"/>
          <ac:spMkLst>
            <pc:docMk/>
            <pc:sldMk cId="3739907698" sldId="275"/>
            <ac:spMk id="77" creationId="{30A81A8B-68FE-BB04-7EB2-E43E26A1D892}"/>
          </ac:spMkLst>
        </pc:spChg>
        <pc:spChg chg="del">
          <ac:chgData name="Darius Kuddo" userId="da7555aa-d650-4d73-b00b-d01e713f1329" providerId="ADAL" clId="{9A4B509C-EEE7-485A-994E-5919214B754D}" dt="2025-02-20T01:51:48.244" v="2200" actId="478"/>
          <ac:spMkLst>
            <pc:docMk/>
            <pc:sldMk cId="3739907698" sldId="275"/>
            <ac:spMk id="78" creationId="{CB0FEBC4-696A-5724-A059-FA380A8B00F5}"/>
          </ac:spMkLst>
        </pc:spChg>
        <pc:spChg chg="del">
          <ac:chgData name="Darius Kuddo" userId="da7555aa-d650-4d73-b00b-d01e713f1329" providerId="ADAL" clId="{9A4B509C-EEE7-485A-994E-5919214B754D}" dt="2025-02-20T01:51:48.244" v="2200" actId="478"/>
          <ac:spMkLst>
            <pc:docMk/>
            <pc:sldMk cId="3739907698" sldId="275"/>
            <ac:spMk id="79" creationId="{1D108BE3-E2C2-CA3F-5652-EBEBDD370148}"/>
          </ac:spMkLst>
        </pc:spChg>
        <pc:spChg chg="del">
          <ac:chgData name="Darius Kuddo" userId="da7555aa-d650-4d73-b00b-d01e713f1329" providerId="ADAL" clId="{9A4B509C-EEE7-485A-994E-5919214B754D}" dt="2025-02-20T01:51:48.244" v="2200" actId="478"/>
          <ac:spMkLst>
            <pc:docMk/>
            <pc:sldMk cId="3739907698" sldId="275"/>
            <ac:spMk id="80" creationId="{59885D80-EC86-122B-1D01-14C109EDE656}"/>
          </ac:spMkLst>
        </pc:spChg>
        <pc:spChg chg="del">
          <ac:chgData name="Darius Kuddo" userId="da7555aa-d650-4d73-b00b-d01e713f1329" providerId="ADAL" clId="{9A4B509C-EEE7-485A-994E-5919214B754D}" dt="2025-02-20T01:51:48.244" v="2200" actId="478"/>
          <ac:spMkLst>
            <pc:docMk/>
            <pc:sldMk cId="3739907698" sldId="275"/>
            <ac:spMk id="81" creationId="{125FC36E-25CD-C870-167A-A681957C27BE}"/>
          </ac:spMkLst>
        </pc:spChg>
        <pc:spChg chg="del">
          <ac:chgData name="Darius Kuddo" userId="da7555aa-d650-4d73-b00b-d01e713f1329" providerId="ADAL" clId="{9A4B509C-EEE7-485A-994E-5919214B754D}" dt="2025-02-20T01:51:48.244" v="2200" actId="478"/>
          <ac:spMkLst>
            <pc:docMk/>
            <pc:sldMk cId="3739907698" sldId="275"/>
            <ac:spMk id="82" creationId="{1452AAE6-AB70-8857-7557-DFA95F5E3748}"/>
          </ac:spMkLst>
        </pc:spChg>
        <pc:spChg chg="mod">
          <ac:chgData name="Darius Kuddo" userId="da7555aa-d650-4d73-b00b-d01e713f1329" providerId="ADAL" clId="{9A4B509C-EEE7-485A-994E-5919214B754D}" dt="2025-02-20T01:51:45.199" v="2199"/>
          <ac:spMkLst>
            <pc:docMk/>
            <pc:sldMk cId="3739907698" sldId="275"/>
            <ac:spMk id="83" creationId="{8D570F98-9B66-3986-27D6-EBFCDF111B21}"/>
          </ac:spMkLst>
        </pc:spChg>
        <pc:spChg chg="del">
          <ac:chgData name="Darius Kuddo" userId="da7555aa-d650-4d73-b00b-d01e713f1329" providerId="ADAL" clId="{9A4B509C-EEE7-485A-994E-5919214B754D}" dt="2025-02-20T01:51:48.244" v="2200" actId="478"/>
          <ac:spMkLst>
            <pc:docMk/>
            <pc:sldMk cId="3739907698" sldId="275"/>
            <ac:spMk id="84" creationId="{7486623C-6CF2-37A0-0D94-7C25E0AD50DA}"/>
          </ac:spMkLst>
        </pc:spChg>
        <pc:spChg chg="del">
          <ac:chgData name="Darius Kuddo" userId="da7555aa-d650-4d73-b00b-d01e713f1329" providerId="ADAL" clId="{9A4B509C-EEE7-485A-994E-5919214B754D}" dt="2025-02-20T01:51:48.244" v="2200" actId="478"/>
          <ac:spMkLst>
            <pc:docMk/>
            <pc:sldMk cId="3739907698" sldId="275"/>
            <ac:spMk id="85" creationId="{7525E698-89A5-662E-8DE0-9B4C762BB85D}"/>
          </ac:spMkLst>
        </pc:spChg>
        <pc:spChg chg="del">
          <ac:chgData name="Darius Kuddo" userId="da7555aa-d650-4d73-b00b-d01e713f1329" providerId="ADAL" clId="{9A4B509C-EEE7-485A-994E-5919214B754D}" dt="2025-02-20T01:51:48.244" v="2200" actId="478"/>
          <ac:spMkLst>
            <pc:docMk/>
            <pc:sldMk cId="3739907698" sldId="275"/>
            <ac:spMk id="86" creationId="{46F033EA-498C-57EB-CE57-6B934CCBCBD0}"/>
          </ac:spMkLst>
        </pc:spChg>
        <pc:spChg chg="mod">
          <ac:chgData name="Darius Kuddo" userId="da7555aa-d650-4d73-b00b-d01e713f1329" providerId="ADAL" clId="{9A4B509C-EEE7-485A-994E-5919214B754D}" dt="2025-02-20T01:51:45.199" v="2199"/>
          <ac:spMkLst>
            <pc:docMk/>
            <pc:sldMk cId="3739907698" sldId="275"/>
            <ac:spMk id="87" creationId="{BA95A086-D8B2-7CF8-5310-617564291C8D}"/>
          </ac:spMkLst>
        </pc:spChg>
        <pc:spChg chg="mod">
          <ac:chgData name="Darius Kuddo" userId="da7555aa-d650-4d73-b00b-d01e713f1329" providerId="ADAL" clId="{9A4B509C-EEE7-485A-994E-5919214B754D}" dt="2025-02-20T01:51:45.199" v="2199"/>
          <ac:spMkLst>
            <pc:docMk/>
            <pc:sldMk cId="3739907698" sldId="275"/>
            <ac:spMk id="88" creationId="{A34E4CD7-1941-52B6-9150-4A08CDF202D4}"/>
          </ac:spMkLst>
        </pc:spChg>
        <pc:spChg chg="mod">
          <ac:chgData name="Darius Kuddo" userId="da7555aa-d650-4d73-b00b-d01e713f1329" providerId="ADAL" clId="{9A4B509C-EEE7-485A-994E-5919214B754D}" dt="2025-02-20T01:51:45.199" v="2199"/>
          <ac:spMkLst>
            <pc:docMk/>
            <pc:sldMk cId="3739907698" sldId="275"/>
            <ac:spMk id="89" creationId="{1B08AB70-2534-8E3B-7A70-3F7F50D89C21}"/>
          </ac:spMkLst>
        </pc:spChg>
        <pc:spChg chg="del">
          <ac:chgData name="Darius Kuddo" userId="da7555aa-d650-4d73-b00b-d01e713f1329" providerId="ADAL" clId="{9A4B509C-EEE7-485A-994E-5919214B754D}" dt="2025-02-20T01:51:48.244" v="2200" actId="478"/>
          <ac:spMkLst>
            <pc:docMk/>
            <pc:sldMk cId="3739907698" sldId="275"/>
            <ac:spMk id="90" creationId="{EFCAFA2A-C633-94E8-6988-129E5411A2D8}"/>
          </ac:spMkLst>
        </pc:spChg>
        <pc:spChg chg="del">
          <ac:chgData name="Darius Kuddo" userId="da7555aa-d650-4d73-b00b-d01e713f1329" providerId="ADAL" clId="{9A4B509C-EEE7-485A-994E-5919214B754D}" dt="2025-02-20T01:51:48.244" v="2200" actId="478"/>
          <ac:spMkLst>
            <pc:docMk/>
            <pc:sldMk cId="3739907698" sldId="275"/>
            <ac:spMk id="91" creationId="{7B90B092-C9FE-B8A3-02CE-DC5258A7CD74}"/>
          </ac:spMkLst>
        </pc:spChg>
        <pc:spChg chg="del">
          <ac:chgData name="Darius Kuddo" userId="da7555aa-d650-4d73-b00b-d01e713f1329" providerId="ADAL" clId="{9A4B509C-EEE7-485A-994E-5919214B754D}" dt="2025-02-20T01:51:48.244" v="2200" actId="478"/>
          <ac:spMkLst>
            <pc:docMk/>
            <pc:sldMk cId="3739907698" sldId="275"/>
            <ac:spMk id="92" creationId="{1C2E60F4-E9D4-626D-98B1-ECD48DCDB0DE}"/>
          </ac:spMkLst>
        </pc:spChg>
        <pc:spChg chg="del">
          <ac:chgData name="Darius Kuddo" userId="da7555aa-d650-4d73-b00b-d01e713f1329" providerId="ADAL" clId="{9A4B509C-EEE7-485A-994E-5919214B754D}" dt="2025-02-20T01:51:48.244" v="2200" actId="478"/>
          <ac:spMkLst>
            <pc:docMk/>
            <pc:sldMk cId="3739907698" sldId="275"/>
            <ac:spMk id="94" creationId="{32CF048A-9DD6-9DE0-1D92-7A9B6685FDE9}"/>
          </ac:spMkLst>
        </pc:spChg>
        <pc:spChg chg="del">
          <ac:chgData name="Darius Kuddo" userId="da7555aa-d650-4d73-b00b-d01e713f1329" providerId="ADAL" clId="{9A4B509C-EEE7-485A-994E-5919214B754D}" dt="2025-02-20T01:51:48.244" v="2200" actId="478"/>
          <ac:spMkLst>
            <pc:docMk/>
            <pc:sldMk cId="3739907698" sldId="275"/>
            <ac:spMk id="95" creationId="{ABC7A663-388B-01C6-F343-2BA7AF94115D}"/>
          </ac:spMkLst>
        </pc:spChg>
        <pc:spChg chg="del">
          <ac:chgData name="Darius Kuddo" userId="da7555aa-d650-4d73-b00b-d01e713f1329" providerId="ADAL" clId="{9A4B509C-EEE7-485A-994E-5919214B754D}" dt="2025-02-20T01:51:48.244" v="2200" actId="478"/>
          <ac:spMkLst>
            <pc:docMk/>
            <pc:sldMk cId="3739907698" sldId="275"/>
            <ac:spMk id="96" creationId="{DE32647B-74F5-A6DE-33FA-51FEA35F61AA}"/>
          </ac:spMkLst>
        </pc:spChg>
        <pc:spChg chg="del">
          <ac:chgData name="Darius Kuddo" userId="da7555aa-d650-4d73-b00b-d01e713f1329" providerId="ADAL" clId="{9A4B509C-EEE7-485A-994E-5919214B754D}" dt="2025-02-20T01:51:48.244" v="2200" actId="478"/>
          <ac:spMkLst>
            <pc:docMk/>
            <pc:sldMk cId="3739907698" sldId="275"/>
            <ac:spMk id="97" creationId="{EF4133F6-5D05-F608-DF92-DF432A8ACDB2}"/>
          </ac:spMkLst>
        </pc:spChg>
        <pc:spChg chg="del">
          <ac:chgData name="Darius Kuddo" userId="da7555aa-d650-4d73-b00b-d01e713f1329" providerId="ADAL" clId="{9A4B509C-EEE7-485A-994E-5919214B754D}" dt="2025-02-20T01:51:48.244" v="2200" actId="478"/>
          <ac:spMkLst>
            <pc:docMk/>
            <pc:sldMk cId="3739907698" sldId="275"/>
            <ac:spMk id="98" creationId="{DC989560-604B-62F6-AF68-0C32910311A6}"/>
          </ac:spMkLst>
        </pc:spChg>
        <pc:spChg chg="del">
          <ac:chgData name="Darius Kuddo" userId="da7555aa-d650-4d73-b00b-d01e713f1329" providerId="ADAL" clId="{9A4B509C-EEE7-485A-994E-5919214B754D}" dt="2025-02-20T01:51:48.244" v="2200" actId="478"/>
          <ac:spMkLst>
            <pc:docMk/>
            <pc:sldMk cId="3739907698" sldId="275"/>
            <ac:spMk id="99" creationId="{8A8C4F1B-A8DB-0843-BBAC-2540EACA41DF}"/>
          </ac:spMkLst>
        </pc:spChg>
        <pc:spChg chg="del">
          <ac:chgData name="Darius Kuddo" userId="da7555aa-d650-4d73-b00b-d01e713f1329" providerId="ADAL" clId="{9A4B509C-EEE7-485A-994E-5919214B754D}" dt="2025-02-20T01:51:48.244" v="2200" actId="478"/>
          <ac:spMkLst>
            <pc:docMk/>
            <pc:sldMk cId="3739907698" sldId="275"/>
            <ac:spMk id="100" creationId="{1BC06027-AB28-6063-F0B8-38A4FAAAA6A6}"/>
          </ac:spMkLst>
        </pc:spChg>
        <pc:spChg chg="del">
          <ac:chgData name="Darius Kuddo" userId="da7555aa-d650-4d73-b00b-d01e713f1329" providerId="ADAL" clId="{9A4B509C-EEE7-485A-994E-5919214B754D}" dt="2025-02-20T01:51:48.244" v="2200" actId="478"/>
          <ac:spMkLst>
            <pc:docMk/>
            <pc:sldMk cId="3739907698" sldId="275"/>
            <ac:spMk id="101" creationId="{643961E6-B7F7-7EE4-4136-6418E067B86E}"/>
          </ac:spMkLst>
        </pc:spChg>
        <pc:spChg chg="del">
          <ac:chgData name="Darius Kuddo" userId="da7555aa-d650-4d73-b00b-d01e713f1329" providerId="ADAL" clId="{9A4B509C-EEE7-485A-994E-5919214B754D}" dt="2025-02-20T01:51:48.244" v="2200" actId="478"/>
          <ac:spMkLst>
            <pc:docMk/>
            <pc:sldMk cId="3739907698" sldId="275"/>
            <ac:spMk id="102" creationId="{186BE1FE-9E52-BD7B-0786-87BCC778C594}"/>
          </ac:spMkLst>
        </pc:spChg>
        <pc:spChg chg="del">
          <ac:chgData name="Darius Kuddo" userId="da7555aa-d650-4d73-b00b-d01e713f1329" providerId="ADAL" clId="{9A4B509C-EEE7-485A-994E-5919214B754D}" dt="2025-02-20T01:51:48.244" v="2200" actId="478"/>
          <ac:spMkLst>
            <pc:docMk/>
            <pc:sldMk cId="3739907698" sldId="275"/>
            <ac:spMk id="103" creationId="{D3C5BEAB-4BAD-ABB4-4E6D-8384A281EA64}"/>
          </ac:spMkLst>
        </pc:spChg>
        <pc:spChg chg="del">
          <ac:chgData name="Darius Kuddo" userId="da7555aa-d650-4d73-b00b-d01e713f1329" providerId="ADAL" clId="{9A4B509C-EEE7-485A-994E-5919214B754D}" dt="2025-02-20T01:51:48.244" v="2200" actId="478"/>
          <ac:spMkLst>
            <pc:docMk/>
            <pc:sldMk cId="3739907698" sldId="275"/>
            <ac:spMk id="104" creationId="{42A1C671-8A42-8E34-E457-3AB6EF6A913E}"/>
          </ac:spMkLst>
        </pc:spChg>
        <pc:spChg chg="del">
          <ac:chgData name="Darius Kuddo" userId="da7555aa-d650-4d73-b00b-d01e713f1329" providerId="ADAL" clId="{9A4B509C-EEE7-485A-994E-5919214B754D}" dt="2025-02-20T01:51:48.244" v="2200" actId="478"/>
          <ac:spMkLst>
            <pc:docMk/>
            <pc:sldMk cId="3739907698" sldId="275"/>
            <ac:spMk id="105" creationId="{960A7037-7D0F-FBFE-3E2E-B170A7AE44F3}"/>
          </ac:spMkLst>
        </pc:spChg>
        <pc:spChg chg="del">
          <ac:chgData name="Darius Kuddo" userId="da7555aa-d650-4d73-b00b-d01e713f1329" providerId="ADAL" clId="{9A4B509C-EEE7-485A-994E-5919214B754D}" dt="2025-02-20T01:51:48.244" v="2200" actId="478"/>
          <ac:spMkLst>
            <pc:docMk/>
            <pc:sldMk cId="3739907698" sldId="275"/>
            <ac:spMk id="106" creationId="{784A1694-AE05-DE94-AF34-54B106FB2A07}"/>
          </ac:spMkLst>
        </pc:spChg>
        <pc:spChg chg="mod">
          <ac:chgData name="Darius Kuddo" userId="da7555aa-d650-4d73-b00b-d01e713f1329" providerId="ADAL" clId="{9A4B509C-EEE7-485A-994E-5919214B754D}" dt="2025-02-20T01:51:45.199" v="2199"/>
          <ac:spMkLst>
            <pc:docMk/>
            <pc:sldMk cId="3739907698" sldId="275"/>
            <ac:spMk id="107" creationId="{665C2BFF-DA96-F50A-B09C-E93FC6D86FB3}"/>
          </ac:spMkLst>
        </pc:spChg>
        <pc:spChg chg="mod">
          <ac:chgData name="Darius Kuddo" userId="da7555aa-d650-4d73-b00b-d01e713f1329" providerId="ADAL" clId="{9A4B509C-EEE7-485A-994E-5919214B754D}" dt="2025-02-20T01:51:45.199" v="2199"/>
          <ac:spMkLst>
            <pc:docMk/>
            <pc:sldMk cId="3739907698" sldId="275"/>
            <ac:spMk id="108" creationId="{1D8A1BDD-D37C-1F44-5403-204A5415CB36}"/>
          </ac:spMkLst>
        </pc:spChg>
        <pc:spChg chg="mod">
          <ac:chgData name="Darius Kuddo" userId="da7555aa-d650-4d73-b00b-d01e713f1329" providerId="ADAL" clId="{9A4B509C-EEE7-485A-994E-5919214B754D}" dt="2025-02-20T01:51:45.199" v="2199"/>
          <ac:spMkLst>
            <pc:docMk/>
            <pc:sldMk cId="3739907698" sldId="275"/>
            <ac:spMk id="109" creationId="{66B3EC03-2DA6-4CCF-5336-FD692C18769E}"/>
          </ac:spMkLst>
        </pc:spChg>
        <pc:spChg chg="mod">
          <ac:chgData name="Darius Kuddo" userId="da7555aa-d650-4d73-b00b-d01e713f1329" providerId="ADAL" clId="{9A4B509C-EEE7-485A-994E-5919214B754D}" dt="2025-02-20T01:51:45.199" v="2199"/>
          <ac:spMkLst>
            <pc:docMk/>
            <pc:sldMk cId="3739907698" sldId="275"/>
            <ac:spMk id="110" creationId="{DAF40FEB-CDBD-018E-C274-B9C72CF997DE}"/>
          </ac:spMkLst>
        </pc:spChg>
        <pc:spChg chg="mod">
          <ac:chgData name="Darius Kuddo" userId="da7555aa-d650-4d73-b00b-d01e713f1329" providerId="ADAL" clId="{9A4B509C-EEE7-485A-994E-5919214B754D}" dt="2025-02-20T01:51:45.199" v="2199"/>
          <ac:spMkLst>
            <pc:docMk/>
            <pc:sldMk cId="3739907698" sldId="275"/>
            <ac:spMk id="111" creationId="{D743E4E9-DC58-BA84-4FBB-6074C04EFEDA}"/>
          </ac:spMkLst>
        </pc:spChg>
        <pc:spChg chg="mod">
          <ac:chgData name="Darius Kuddo" userId="da7555aa-d650-4d73-b00b-d01e713f1329" providerId="ADAL" clId="{9A4B509C-EEE7-485A-994E-5919214B754D}" dt="2025-02-20T01:51:45.199" v="2199"/>
          <ac:spMkLst>
            <pc:docMk/>
            <pc:sldMk cId="3739907698" sldId="275"/>
            <ac:spMk id="112" creationId="{C0558667-8E3E-E310-31B2-20EAFBF44283}"/>
          </ac:spMkLst>
        </pc:spChg>
        <pc:spChg chg="mod">
          <ac:chgData name="Darius Kuddo" userId="da7555aa-d650-4d73-b00b-d01e713f1329" providerId="ADAL" clId="{9A4B509C-EEE7-485A-994E-5919214B754D}" dt="2025-02-20T01:51:45.199" v="2199"/>
          <ac:spMkLst>
            <pc:docMk/>
            <pc:sldMk cId="3739907698" sldId="275"/>
            <ac:spMk id="113" creationId="{35F23110-C448-8DF7-4393-308A561DE34B}"/>
          </ac:spMkLst>
        </pc:spChg>
        <pc:spChg chg="mod">
          <ac:chgData name="Darius Kuddo" userId="da7555aa-d650-4d73-b00b-d01e713f1329" providerId="ADAL" clId="{9A4B509C-EEE7-485A-994E-5919214B754D}" dt="2025-02-20T01:51:45.199" v="2199"/>
          <ac:spMkLst>
            <pc:docMk/>
            <pc:sldMk cId="3739907698" sldId="275"/>
            <ac:spMk id="114" creationId="{69F07A5D-D217-54EF-599D-F2877ED1C4D4}"/>
          </ac:spMkLst>
        </pc:spChg>
        <pc:spChg chg="mod">
          <ac:chgData name="Darius Kuddo" userId="da7555aa-d650-4d73-b00b-d01e713f1329" providerId="ADAL" clId="{9A4B509C-EEE7-485A-994E-5919214B754D}" dt="2025-02-20T01:51:45.199" v="2199"/>
          <ac:spMkLst>
            <pc:docMk/>
            <pc:sldMk cId="3739907698" sldId="275"/>
            <ac:spMk id="115" creationId="{E0DFE1ED-41A1-05FC-15F9-67AA2702DB7F}"/>
          </ac:spMkLst>
        </pc:spChg>
        <pc:spChg chg="mod">
          <ac:chgData name="Darius Kuddo" userId="da7555aa-d650-4d73-b00b-d01e713f1329" providerId="ADAL" clId="{9A4B509C-EEE7-485A-994E-5919214B754D}" dt="2025-02-20T01:51:45.199" v="2199"/>
          <ac:spMkLst>
            <pc:docMk/>
            <pc:sldMk cId="3739907698" sldId="275"/>
            <ac:spMk id="116" creationId="{49A930E0-4D50-B7B3-A7C8-981A98FA18C1}"/>
          </ac:spMkLst>
        </pc:spChg>
        <pc:spChg chg="mod">
          <ac:chgData name="Darius Kuddo" userId="da7555aa-d650-4d73-b00b-d01e713f1329" providerId="ADAL" clId="{9A4B509C-EEE7-485A-994E-5919214B754D}" dt="2025-02-20T01:51:45.199" v="2199"/>
          <ac:spMkLst>
            <pc:docMk/>
            <pc:sldMk cId="3739907698" sldId="275"/>
            <ac:spMk id="117" creationId="{ABC15B4F-A2F2-795C-AC02-F4EC58ACB808}"/>
          </ac:spMkLst>
        </pc:spChg>
        <pc:spChg chg="mod">
          <ac:chgData name="Darius Kuddo" userId="da7555aa-d650-4d73-b00b-d01e713f1329" providerId="ADAL" clId="{9A4B509C-EEE7-485A-994E-5919214B754D}" dt="2025-02-20T01:51:45.199" v="2199"/>
          <ac:spMkLst>
            <pc:docMk/>
            <pc:sldMk cId="3739907698" sldId="275"/>
            <ac:spMk id="118" creationId="{D06BFE54-3F64-EFE7-DD5B-C69DC220F770}"/>
          </ac:spMkLst>
        </pc:spChg>
        <pc:spChg chg="mod">
          <ac:chgData name="Darius Kuddo" userId="da7555aa-d650-4d73-b00b-d01e713f1329" providerId="ADAL" clId="{9A4B509C-EEE7-485A-994E-5919214B754D}" dt="2025-02-20T01:51:45.199" v="2199"/>
          <ac:spMkLst>
            <pc:docMk/>
            <pc:sldMk cId="3739907698" sldId="275"/>
            <ac:spMk id="119" creationId="{0EC520F7-EC69-7224-4334-C26C55339B06}"/>
          </ac:spMkLst>
        </pc:spChg>
        <pc:spChg chg="mod">
          <ac:chgData name="Darius Kuddo" userId="da7555aa-d650-4d73-b00b-d01e713f1329" providerId="ADAL" clId="{9A4B509C-EEE7-485A-994E-5919214B754D}" dt="2025-02-20T01:51:45.199" v="2199"/>
          <ac:spMkLst>
            <pc:docMk/>
            <pc:sldMk cId="3739907698" sldId="275"/>
            <ac:spMk id="120" creationId="{AAB04F61-6FE5-A0C5-7B2D-1670B5CB5871}"/>
          </ac:spMkLst>
        </pc:spChg>
        <pc:spChg chg="mod">
          <ac:chgData name="Darius Kuddo" userId="da7555aa-d650-4d73-b00b-d01e713f1329" providerId="ADAL" clId="{9A4B509C-EEE7-485A-994E-5919214B754D}" dt="2025-02-20T01:51:45.199" v="2199"/>
          <ac:spMkLst>
            <pc:docMk/>
            <pc:sldMk cId="3739907698" sldId="275"/>
            <ac:spMk id="121" creationId="{14EF5399-DA07-2676-45F3-84BB8D974AB5}"/>
          </ac:spMkLst>
        </pc:spChg>
        <pc:spChg chg="mod">
          <ac:chgData name="Darius Kuddo" userId="da7555aa-d650-4d73-b00b-d01e713f1329" providerId="ADAL" clId="{9A4B509C-EEE7-485A-994E-5919214B754D}" dt="2025-02-20T01:51:45.199" v="2199"/>
          <ac:spMkLst>
            <pc:docMk/>
            <pc:sldMk cId="3739907698" sldId="275"/>
            <ac:spMk id="122" creationId="{9950F9E7-F6F2-77D3-4752-CF34515A0C2C}"/>
          </ac:spMkLst>
        </pc:spChg>
        <pc:spChg chg="mod">
          <ac:chgData name="Darius Kuddo" userId="da7555aa-d650-4d73-b00b-d01e713f1329" providerId="ADAL" clId="{9A4B509C-EEE7-485A-994E-5919214B754D}" dt="2025-02-20T01:51:45.199" v="2199"/>
          <ac:spMkLst>
            <pc:docMk/>
            <pc:sldMk cId="3739907698" sldId="275"/>
            <ac:spMk id="123" creationId="{3EFB79B3-B30E-3FC2-A317-EECE83E5776C}"/>
          </ac:spMkLst>
        </pc:spChg>
        <pc:spChg chg="mod">
          <ac:chgData name="Darius Kuddo" userId="da7555aa-d650-4d73-b00b-d01e713f1329" providerId="ADAL" clId="{9A4B509C-EEE7-485A-994E-5919214B754D}" dt="2025-02-20T01:51:45.199" v="2199"/>
          <ac:spMkLst>
            <pc:docMk/>
            <pc:sldMk cId="3739907698" sldId="275"/>
            <ac:spMk id="124" creationId="{3FC78D0A-AE60-6D80-6936-32E74F1C767F}"/>
          </ac:spMkLst>
        </pc:spChg>
        <pc:spChg chg="mod">
          <ac:chgData name="Darius Kuddo" userId="da7555aa-d650-4d73-b00b-d01e713f1329" providerId="ADAL" clId="{9A4B509C-EEE7-485A-994E-5919214B754D}" dt="2025-02-20T01:51:45.199" v="2199"/>
          <ac:spMkLst>
            <pc:docMk/>
            <pc:sldMk cId="3739907698" sldId="275"/>
            <ac:spMk id="125" creationId="{8363895E-5478-CDC8-8064-D38A53017B61}"/>
          </ac:spMkLst>
        </pc:spChg>
        <pc:spChg chg="mod">
          <ac:chgData name="Darius Kuddo" userId="da7555aa-d650-4d73-b00b-d01e713f1329" providerId="ADAL" clId="{9A4B509C-EEE7-485A-994E-5919214B754D}" dt="2025-02-20T01:51:45.199" v="2199"/>
          <ac:spMkLst>
            <pc:docMk/>
            <pc:sldMk cId="3739907698" sldId="275"/>
            <ac:spMk id="126" creationId="{4ED2A46B-1D1F-1B37-276B-2B43F1439AA7}"/>
          </ac:spMkLst>
        </pc:spChg>
        <pc:spChg chg="mod">
          <ac:chgData name="Darius Kuddo" userId="da7555aa-d650-4d73-b00b-d01e713f1329" providerId="ADAL" clId="{9A4B509C-EEE7-485A-994E-5919214B754D}" dt="2025-02-20T01:51:45.199" v="2199"/>
          <ac:spMkLst>
            <pc:docMk/>
            <pc:sldMk cId="3739907698" sldId="275"/>
            <ac:spMk id="127" creationId="{AE5F6D47-C896-82FF-9B55-5E11F51B6C32}"/>
          </ac:spMkLst>
        </pc:spChg>
        <pc:spChg chg="mod">
          <ac:chgData name="Darius Kuddo" userId="da7555aa-d650-4d73-b00b-d01e713f1329" providerId="ADAL" clId="{9A4B509C-EEE7-485A-994E-5919214B754D}" dt="2025-02-20T01:51:49.529" v="2201"/>
          <ac:spMkLst>
            <pc:docMk/>
            <pc:sldMk cId="3739907698" sldId="275"/>
            <ac:spMk id="192" creationId="{1F2B489E-D19A-E9C1-083E-FF25E28F38E9}"/>
          </ac:spMkLst>
        </pc:spChg>
        <pc:spChg chg="mod">
          <ac:chgData name="Darius Kuddo" userId="da7555aa-d650-4d73-b00b-d01e713f1329" providerId="ADAL" clId="{9A4B509C-EEE7-485A-994E-5919214B754D}" dt="2025-02-20T01:51:49.529" v="2201"/>
          <ac:spMkLst>
            <pc:docMk/>
            <pc:sldMk cId="3739907698" sldId="275"/>
            <ac:spMk id="193" creationId="{2B4F72B1-301E-689D-975A-BB763CFF14B9}"/>
          </ac:spMkLst>
        </pc:spChg>
        <pc:spChg chg="mod">
          <ac:chgData name="Darius Kuddo" userId="da7555aa-d650-4d73-b00b-d01e713f1329" providerId="ADAL" clId="{9A4B509C-EEE7-485A-994E-5919214B754D}" dt="2025-02-20T01:51:49.529" v="2201"/>
          <ac:spMkLst>
            <pc:docMk/>
            <pc:sldMk cId="3739907698" sldId="275"/>
            <ac:spMk id="194" creationId="{FE40C563-8A25-C68C-6A2A-EA45C97F40FC}"/>
          </ac:spMkLst>
        </pc:spChg>
        <pc:spChg chg="mod">
          <ac:chgData name="Darius Kuddo" userId="da7555aa-d650-4d73-b00b-d01e713f1329" providerId="ADAL" clId="{9A4B509C-EEE7-485A-994E-5919214B754D}" dt="2025-02-20T01:51:49.529" v="2201"/>
          <ac:spMkLst>
            <pc:docMk/>
            <pc:sldMk cId="3739907698" sldId="275"/>
            <ac:spMk id="195" creationId="{178E5BDE-AD42-20AE-C14B-97B4002FFA6E}"/>
          </ac:spMkLst>
        </pc:spChg>
        <pc:spChg chg="mod">
          <ac:chgData name="Darius Kuddo" userId="da7555aa-d650-4d73-b00b-d01e713f1329" providerId="ADAL" clId="{9A4B509C-EEE7-485A-994E-5919214B754D}" dt="2025-02-20T01:51:49.529" v="2201"/>
          <ac:spMkLst>
            <pc:docMk/>
            <pc:sldMk cId="3739907698" sldId="275"/>
            <ac:spMk id="197" creationId="{A8D81907-03C3-99DF-579A-D9AC4EC40A2F}"/>
          </ac:spMkLst>
        </pc:spChg>
        <pc:spChg chg="mod">
          <ac:chgData name="Darius Kuddo" userId="da7555aa-d650-4d73-b00b-d01e713f1329" providerId="ADAL" clId="{9A4B509C-EEE7-485A-994E-5919214B754D}" dt="2025-02-20T01:51:49.529" v="2201"/>
          <ac:spMkLst>
            <pc:docMk/>
            <pc:sldMk cId="3739907698" sldId="275"/>
            <ac:spMk id="198" creationId="{2F568D0B-E776-DCAA-432B-F3D9147BCD73}"/>
          </ac:spMkLst>
        </pc:spChg>
        <pc:spChg chg="mod">
          <ac:chgData name="Darius Kuddo" userId="da7555aa-d650-4d73-b00b-d01e713f1329" providerId="ADAL" clId="{9A4B509C-EEE7-485A-994E-5919214B754D}" dt="2025-02-20T01:51:49.529" v="2201"/>
          <ac:spMkLst>
            <pc:docMk/>
            <pc:sldMk cId="3739907698" sldId="275"/>
            <ac:spMk id="199" creationId="{B74CFE58-05FA-6A80-F3AB-F705C431C617}"/>
          </ac:spMkLst>
        </pc:spChg>
        <pc:spChg chg="mod">
          <ac:chgData name="Darius Kuddo" userId="da7555aa-d650-4d73-b00b-d01e713f1329" providerId="ADAL" clId="{9A4B509C-EEE7-485A-994E-5919214B754D}" dt="2025-02-20T01:51:49.529" v="2201"/>
          <ac:spMkLst>
            <pc:docMk/>
            <pc:sldMk cId="3739907698" sldId="275"/>
            <ac:spMk id="200" creationId="{7FB20288-9E74-8D0B-A68E-7349B2B5B3DD}"/>
          </ac:spMkLst>
        </pc:spChg>
        <pc:spChg chg="mod">
          <ac:chgData name="Darius Kuddo" userId="da7555aa-d650-4d73-b00b-d01e713f1329" providerId="ADAL" clId="{9A4B509C-EEE7-485A-994E-5919214B754D}" dt="2025-02-20T01:51:49.529" v="2201"/>
          <ac:spMkLst>
            <pc:docMk/>
            <pc:sldMk cId="3739907698" sldId="275"/>
            <ac:spMk id="201" creationId="{BCFAED6C-7954-6E57-42CE-678276070F34}"/>
          </ac:spMkLst>
        </pc:spChg>
        <pc:spChg chg="mod">
          <ac:chgData name="Darius Kuddo" userId="da7555aa-d650-4d73-b00b-d01e713f1329" providerId="ADAL" clId="{9A4B509C-EEE7-485A-994E-5919214B754D}" dt="2025-02-20T01:51:49.529" v="2201"/>
          <ac:spMkLst>
            <pc:docMk/>
            <pc:sldMk cId="3739907698" sldId="275"/>
            <ac:spMk id="202" creationId="{4BA9763A-CF0E-AE59-54E3-18209CB549CD}"/>
          </ac:spMkLst>
        </pc:spChg>
        <pc:spChg chg="add mod">
          <ac:chgData name="Darius Kuddo" userId="da7555aa-d650-4d73-b00b-d01e713f1329" providerId="ADAL" clId="{9A4B509C-EEE7-485A-994E-5919214B754D}" dt="2025-02-20T01:51:49.529" v="2201"/>
          <ac:spMkLst>
            <pc:docMk/>
            <pc:sldMk cId="3739907698" sldId="275"/>
            <ac:spMk id="203" creationId="{921E878C-086B-9079-0E0F-04BDD49AEDE9}"/>
          </ac:spMkLst>
        </pc:spChg>
        <pc:spChg chg="add mod">
          <ac:chgData name="Darius Kuddo" userId="da7555aa-d650-4d73-b00b-d01e713f1329" providerId="ADAL" clId="{9A4B509C-EEE7-485A-994E-5919214B754D}" dt="2025-02-20T01:51:49.529" v="2201"/>
          <ac:spMkLst>
            <pc:docMk/>
            <pc:sldMk cId="3739907698" sldId="275"/>
            <ac:spMk id="204" creationId="{92F7093C-0AA2-5B37-9655-4DEEAF9C1FA5}"/>
          </ac:spMkLst>
        </pc:spChg>
        <pc:spChg chg="add mod">
          <ac:chgData name="Darius Kuddo" userId="da7555aa-d650-4d73-b00b-d01e713f1329" providerId="ADAL" clId="{9A4B509C-EEE7-485A-994E-5919214B754D}" dt="2025-02-20T01:51:49.529" v="2201"/>
          <ac:spMkLst>
            <pc:docMk/>
            <pc:sldMk cId="3739907698" sldId="275"/>
            <ac:spMk id="205" creationId="{4C47DD5A-DBC9-DFF7-1F96-6265B091BC0E}"/>
          </ac:spMkLst>
        </pc:spChg>
        <pc:spChg chg="add mod">
          <ac:chgData name="Darius Kuddo" userId="da7555aa-d650-4d73-b00b-d01e713f1329" providerId="ADAL" clId="{9A4B509C-EEE7-485A-994E-5919214B754D}" dt="2025-02-20T01:51:49.529" v="2201"/>
          <ac:spMkLst>
            <pc:docMk/>
            <pc:sldMk cId="3739907698" sldId="275"/>
            <ac:spMk id="206" creationId="{91EE7DBA-CEB4-16DD-5A73-B0A0F93C1072}"/>
          </ac:spMkLst>
        </pc:spChg>
        <pc:spChg chg="add mod">
          <ac:chgData name="Darius Kuddo" userId="da7555aa-d650-4d73-b00b-d01e713f1329" providerId="ADAL" clId="{9A4B509C-EEE7-485A-994E-5919214B754D}" dt="2025-02-20T01:51:49.529" v="2201"/>
          <ac:spMkLst>
            <pc:docMk/>
            <pc:sldMk cId="3739907698" sldId="275"/>
            <ac:spMk id="207" creationId="{E43FC33A-B6BA-0D47-854A-85E4E2056A7F}"/>
          </ac:spMkLst>
        </pc:spChg>
        <pc:spChg chg="add mod">
          <ac:chgData name="Darius Kuddo" userId="da7555aa-d650-4d73-b00b-d01e713f1329" providerId="ADAL" clId="{9A4B509C-EEE7-485A-994E-5919214B754D}" dt="2025-02-20T01:51:49.529" v="2201"/>
          <ac:spMkLst>
            <pc:docMk/>
            <pc:sldMk cId="3739907698" sldId="275"/>
            <ac:spMk id="208" creationId="{98AFCD61-BC8D-EDF2-D202-A4E5368F6F6B}"/>
          </ac:spMkLst>
        </pc:spChg>
        <pc:spChg chg="add mod">
          <ac:chgData name="Darius Kuddo" userId="da7555aa-d650-4d73-b00b-d01e713f1329" providerId="ADAL" clId="{9A4B509C-EEE7-485A-994E-5919214B754D}" dt="2025-02-20T01:51:49.529" v="2201"/>
          <ac:spMkLst>
            <pc:docMk/>
            <pc:sldMk cId="3739907698" sldId="275"/>
            <ac:spMk id="210" creationId="{5FE5D88C-BD17-2B5F-AA47-FC5951198D41}"/>
          </ac:spMkLst>
        </pc:spChg>
        <pc:spChg chg="add mod">
          <ac:chgData name="Darius Kuddo" userId="da7555aa-d650-4d73-b00b-d01e713f1329" providerId="ADAL" clId="{9A4B509C-EEE7-485A-994E-5919214B754D}" dt="2025-02-20T01:51:49.529" v="2201"/>
          <ac:spMkLst>
            <pc:docMk/>
            <pc:sldMk cId="3739907698" sldId="275"/>
            <ac:spMk id="211" creationId="{9403E655-764E-1691-0543-FF49C3C647E5}"/>
          </ac:spMkLst>
        </pc:spChg>
        <pc:spChg chg="add mod">
          <ac:chgData name="Darius Kuddo" userId="da7555aa-d650-4d73-b00b-d01e713f1329" providerId="ADAL" clId="{9A4B509C-EEE7-485A-994E-5919214B754D}" dt="2025-02-20T01:51:49.529" v="2201"/>
          <ac:spMkLst>
            <pc:docMk/>
            <pc:sldMk cId="3739907698" sldId="275"/>
            <ac:spMk id="212" creationId="{0E237677-6FA1-7886-8CEB-4F25411B029A}"/>
          </ac:spMkLst>
        </pc:spChg>
        <pc:spChg chg="add mod">
          <ac:chgData name="Darius Kuddo" userId="da7555aa-d650-4d73-b00b-d01e713f1329" providerId="ADAL" clId="{9A4B509C-EEE7-485A-994E-5919214B754D}" dt="2025-02-20T01:51:49.529" v="2201"/>
          <ac:spMkLst>
            <pc:docMk/>
            <pc:sldMk cId="3739907698" sldId="275"/>
            <ac:spMk id="213" creationId="{0535848C-21D5-0C23-48B1-2EF1F9D4CCA9}"/>
          </ac:spMkLst>
        </pc:spChg>
        <pc:spChg chg="add mod">
          <ac:chgData name="Darius Kuddo" userId="da7555aa-d650-4d73-b00b-d01e713f1329" providerId="ADAL" clId="{9A4B509C-EEE7-485A-994E-5919214B754D}" dt="2025-02-20T01:51:49.529" v="2201"/>
          <ac:spMkLst>
            <pc:docMk/>
            <pc:sldMk cId="3739907698" sldId="275"/>
            <ac:spMk id="214" creationId="{4F788466-0D32-104C-39DD-A1C2B121382A}"/>
          </ac:spMkLst>
        </pc:spChg>
        <pc:spChg chg="add mod">
          <ac:chgData name="Darius Kuddo" userId="da7555aa-d650-4d73-b00b-d01e713f1329" providerId="ADAL" clId="{9A4B509C-EEE7-485A-994E-5919214B754D}" dt="2025-02-20T01:51:49.529" v="2201"/>
          <ac:spMkLst>
            <pc:docMk/>
            <pc:sldMk cId="3739907698" sldId="275"/>
            <ac:spMk id="215" creationId="{033676EA-B0B2-E7E9-B281-CDAEA41D229A}"/>
          </ac:spMkLst>
        </pc:spChg>
        <pc:spChg chg="add mod">
          <ac:chgData name="Darius Kuddo" userId="da7555aa-d650-4d73-b00b-d01e713f1329" providerId="ADAL" clId="{9A4B509C-EEE7-485A-994E-5919214B754D}" dt="2025-02-20T01:51:49.529" v="2201"/>
          <ac:spMkLst>
            <pc:docMk/>
            <pc:sldMk cId="3739907698" sldId="275"/>
            <ac:spMk id="216" creationId="{05B8CDB3-DBEE-1ACF-7938-A137FEC1F622}"/>
          </ac:spMkLst>
        </pc:spChg>
        <pc:spChg chg="add mod">
          <ac:chgData name="Darius Kuddo" userId="da7555aa-d650-4d73-b00b-d01e713f1329" providerId="ADAL" clId="{9A4B509C-EEE7-485A-994E-5919214B754D}" dt="2025-02-20T01:51:49.529" v="2201"/>
          <ac:spMkLst>
            <pc:docMk/>
            <pc:sldMk cId="3739907698" sldId="275"/>
            <ac:spMk id="217" creationId="{9892BB80-47C5-D4DF-69C8-219D4675F1DA}"/>
          </ac:spMkLst>
        </pc:spChg>
        <pc:spChg chg="add mod">
          <ac:chgData name="Darius Kuddo" userId="da7555aa-d650-4d73-b00b-d01e713f1329" providerId="ADAL" clId="{9A4B509C-EEE7-485A-994E-5919214B754D}" dt="2025-02-20T01:51:49.529" v="2201"/>
          <ac:spMkLst>
            <pc:docMk/>
            <pc:sldMk cId="3739907698" sldId="275"/>
            <ac:spMk id="218" creationId="{FA1CA3F8-D44A-0723-0E50-66FC3FA61336}"/>
          </ac:spMkLst>
        </pc:spChg>
        <pc:spChg chg="add mod">
          <ac:chgData name="Darius Kuddo" userId="da7555aa-d650-4d73-b00b-d01e713f1329" providerId="ADAL" clId="{9A4B509C-EEE7-485A-994E-5919214B754D}" dt="2025-02-20T01:51:49.529" v="2201"/>
          <ac:spMkLst>
            <pc:docMk/>
            <pc:sldMk cId="3739907698" sldId="275"/>
            <ac:spMk id="219" creationId="{6DE300A8-BB2E-F050-5C79-1E854BE32A09}"/>
          </ac:spMkLst>
        </pc:spChg>
        <pc:spChg chg="add mod">
          <ac:chgData name="Darius Kuddo" userId="da7555aa-d650-4d73-b00b-d01e713f1329" providerId="ADAL" clId="{9A4B509C-EEE7-485A-994E-5919214B754D}" dt="2025-02-20T01:51:49.529" v="2201"/>
          <ac:spMkLst>
            <pc:docMk/>
            <pc:sldMk cId="3739907698" sldId="275"/>
            <ac:spMk id="220" creationId="{A0CBEBD3-545A-D1C3-6ECC-8CC3E1343286}"/>
          </ac:spMkLst>
        </pc:spChg>
        <pc:spChg chg="add mod">
          <ac:chgData name="Darius Kuddo" userId="da7555aa-d650-4d73-b00b-d01e713f1329" providerId="ADAL" clId="{9A4B509C-EEE7-485A-994E-5919214B754D}" dt="2025-02-20T01:51:49.529" v="2201"/>
          <ac:spMkLst>
            <pc:docMk/>
            <pc:sldMk cId="3739907698" sldId="275"/>
            <ac:spMk id="221" creationId="{6B74BCF9-48C3-736B-3FE8-6D80E1E999BE}"/>
          </ac:spMkLst>
        </pc:spChg>
        <pc:spChg chg="add mod">
          <ac:chgData name="Darius Kuddo" userId="da7555aa-d650-4d73-b00b-d01e713f1329" providerId="ADAL" clId="{9A4B509C-EEE7-485A-994E-5919214B754D}" dt="2025-02-20T01:51:49.529" v="2201"/>
          <ac:spMkLst>
            <pc:docMk/>
            <pc:sldMk cId="3739907698" sldId="275"/>
            <ac:spMk id="222" creationId="{49933FC9-7BE2-00F8-7B99-18DB41CD46EC}"/>
          </ac:spMkLst>
        </pc:spChg>
        <pc:spChg chg="add mod">
          <ac:chgData name="Darius Kuddo" userId="da7555aa-d650-4d73-b00b-d01e713f1329" providerId="ADAL" clId="{9A4B509C-EEE7-485A-994E-5919214B754D}" dt="2025-02-20T01:51:49.529" v="2201"/>
          <ac:spMkLst>
            <pc:docMk/>
            <pc:sldMk cId="3739907698" sldId="275"/>
            <ac:spMk id="223" creationId="{57BF9CC4-ED65-0706-E79B-6EA3EA7AC7D6}"/>
          </ac:spMkLst>
        </pc:spChg>
        <pc:spChg chg="add mod">
          <ac:chgData name="Darius Kuddo" userId="da7555aa-d650-4d73-b00b-d01e713f1329" providerId="ADAL" clId="{9A4B509C-EEE7-485A-994E-5919214B754D}" dt="2025-02-20T01:51:49.529" v="2201"/>
          <ac:spMkLst>
            <pc:docMk/>
            <pc:sldMk cId="3739907698" sldId="275"/>
            <ac:spMk id="224" creationId="{F9815CA9-7DC1-FA80-36D4-E9CA4BCA844B}"/>
          </ac:spMkLst>
        </pc:spChg>
        <pc:spChg chg="add mod">
          <ac:chgData name="Darius Kuddo" userId="da7555aa-d650-4d73-b00b-d01e713f1329" providerId="ADAL" clId="{9A4B509C-EEE7-485A-994E-5919214B754D}" dt="2025-02-20T01:51:49.529" v="2201"/>
          <ac:spMkLst>
            <pc:docMk/>
            <pc:sldMk cId="3739907698" sldId="275"/>
            <ac:spMk id="225" creationId="{D517A858-F385-52EB-6F67-599B46749BED}"/>
          </ac:spMkLst>
        </pc:spChg>
        <pc:spChg chg="add mod">
          <ac:chgData name="Darius Kuddo" userId="da7555aa-d650-4d73-b00b-d01e713f1329" providerId="ADAL" clId="{9A4B509C-EEE7-485A-994E-5919214B754D}" dt="2025-02-20T01:51:49.529" v="2201"/>
          <ac:spMkLst>
            <pc:docMk/>
            <pc:sldMk cId="3739907698" sldId="275"/>
            <ac:spMk id="226" creationId="{C55870EA-8D9B-18A1-2B21-3F82EED5BD88}"/>
          </ac:spMkLst>
        </pc:spChg>
        <pc:spChg chg="add mod">
          <ac:chgData name="Darius Kuddo" userId="da7555aa-d650-4d73-b00b-d01e713f1329" providerId="ADAL" clId="{9A4B509C-EEE7-485A-994E-5919214B754D}" dt="2025-02-20T01:51:49.529" v="2201"/>
          <ac:spMkLst>
            <pc:docMk/>
            <pc:sldMk cId="3739907698" sldId="275"/>
            <ac:spMk id="227" creationId="{2D1885FC-2B4F-6DC2-2B84-AFD2C75F1FEC}"/>
          </ac:spMkLst>
        </pc:spChg>
        <pc:spChg chg="add mod">
          <ac:chgData name="Darius Kuddo" userId="da7555aa-d650-4d73-b00b-d01e713f1329" providerId="ADAL" clId="{9A4B509C-EEE7-485A-994E-5919214B754D}" dt="2025-02-20T01:51:49.529" v="2201"/>
          <ac:spMkLst>
            <pc:docMk/>
            <pc:sldMk cId="3739907698" sldId="275"/>
            <ac:spMk id="228" creationId="{393A5679-4D5B-E7FC-3B32-84148FB32584}"/>
          </ac:spMkLst>
        </pc:spChg>
        <pc:spChg chg="add mod">
          <ac:chgData name="Darius Kuddo" userId="da7555aa-d650-4d73-b00b-d01e713f1329" providerId="ADAL" clId="{9A4B509C-EEE7-485A-994E-5919214B754D}" dt="2025-02-20T01:51:49.529" v="2201"/>
          <ac:spMkLst>
            <pc:docMk/>
            <pc:sldMk cId="3739907698" sldId="275"/>
            <ac:spMk id="229" creationId="{10BB1CE9-FF50-8C2D-BA85-ACEAB295ABF8}"/>
          </ac:spMkLst>
        </pc:spChg>
        <pc:spChg chg="add mod">
          <ac:chgData name="Darius Kuddo" userId="da7555aa-d650-4d73-b00b-d01e713f1329" providerId="ADAL" clId="{9A4B509C-EEE7-485A-994E-5919214B754D}" dt="2025-02-20T01:51:49.529" v="2201"/>
          <ac:spMkLst>
            <pc:docMk/>
            <pc:sldMk cId="3739907698" sldId="275"/>
            <ac:spMk id="230" creationId="{D95118E3-427C-B4F8-492F-FE03DF4A2815}"/>
          </ac:spMkLst>
        </pc:spChg>
        <pc:spChg chg="add mod">
          <ac:chgData name="Darius Kuddo" userId="da7555aa-d650-4d73-b00b-d01e713f1329" providerId="ADAL" clId="{9A4B509C-EEE7-485A-994E-5919214B754D}" dt="2025-02-20T01:51:49.529" v="2201"/>
          <ac:spMkLst>
            <pc:docMk/>
            <pc:sldMk cId="3739907698" sldId="275"/>
            <ac:spMk id="231" creationId="{F1499047-DD0A-9B75-E23C-9CFE3032A0BF}"/>
          </ac:spMkLst>
        </pc:spChg>
        <pc:spChg chg="add mod">
          <ac:chgData name="Darius Kuddo" userId="da7555aa-d650-4d73-b00b-d01e713f1329" providerId="ADAL" clId="{9A4B509C-EEE7-485A-994E-5919214B754D}" dt="2025-02-20T01:51:49.529" v="2201"/>
          <ac:spMkLst>
            <pc:docMk/>
            <pc:sldMk cId="3739907698" sldId="275"/>
            <ac:spMk id="232" creationId="{9453F507-C4CB-9BC9-C011-B17FC302E746}"/>
          </ac:spMkLst>
        </pc:spChg>
        <pc:spChg chg="add mod">
          <ac:chgData name="Darius Kuddo" userId="da7555aa-d650-4d73-b00b-d01e713f1329" providerId="ADAL" clId="{9A4B509C-EEE7-485A-994E-5919214B754D}" dt="2025-02-20T01:51:49.529" v="2201"/>
          <ac:spMkLst>
            <pc:docMk/>
            <pc:sldMk cId="3739907698" sldId="275"/>
            <ac:spMk id="233" creationId="{5F2C41D1-F69A-1DA2-457D-43BEFDB37F22}"/>
          </ac:spMkLst>
        </pc:spChg>
        <pc:spChg chg="add mod">
          <ac:chgData name="Darius Kuddo" userId="da7555aa-d650-4d73-b00b-d01e713f1329" providerId="ADAL" clId="{9A4B509C-EEE7-485A-994E-5919214B754D}" dt="2025-02-20T01:51:49.529" v="2201"/>
          <ac:spMkLst>
            <pc:docMk/>
            <pc:sldMk cId="3739907698" sldId="275"/>
            <ac:spMk id="234" creationId="{B0C67325-AC5D-564B-FE75-2B9B2B7931D9}"/>
          </ac:spMkLst>
        </pc:spChg>
        <pc:spChg chg="add mod">
          <ac:chgData name="Darius Kuddo" userId="da7555aa-d650-4d73-b00b-d01e713f1329" providerId="ADAL" clId="{9A4B509C-EEE7-485A-994E-5919214B754D}" dt="2025-02-20T01:51:49.529" v="2201"/>
          <ac:spMkLst>
            <pc:docMk/>
            <pc:sldMk cId="3739907698" sldId="275"/>
            <ac:spMk id="235" creationId="{0A1712FB-05E4-4C3F-1DA4-584B24D06B5C}"/>
          </ac:spMkLst>
        </pc:spChg>
        <pc:spChg chg="add mod">
          <ac:chgData name="Darius Kuddo" userId="da7555aa-d650-4d73-b00b-d01e713f1329" providerId="ADAL" clId="{9A4B509C-EEE7-485A-994E-5919214B754D}" dt="2025-02-20T01:51:49.529" v="2201"/>
          <ac:spMkLst>
            <pc:docMk/>
            <pc:sldMk cId="3739907698" sldId="275"/>
            <ac:spMk id="236" creationId="{3D10A0F9-98E2-E955-2920-22044CC619CE}"/>
          </ac:spMkLst>
        </pc:spChg>
        <pc:spChg chg="add mod">
          <ac:chgData name="Darius Kuddo" userId="da7555aa-d650-4d73-b00b-d01e713f1329" providerId="ADAL" clId="{9A4B509C-EEE7-485A-994E-5919214B754D}" dt="2025-02-20T01:51:49.529" v="2201"/>
          <ac:spMkLst>
            <pc:docMk/>
            <pc:sldMk cId="3739907698" sldId="275"/>
            <ac:spMk id="237" creationId="{79BE7C84-15B5-8302-2B32-D36338A1F487}"/>
          </ac:spMkLst>
        </pc:spChg>
        <pc:spChg chg="del">
          <ac:chgData name="Darius Kuddo" userId="da7555aa-d650-4d73-b00b-d01e713f1329" providerId="ADAL" clId="{9A4B509C-EEE7-485A-994E-5919214B754D}" dt="2025-02-20T01:51:48.244" v="2200" actId="478"/>
          <ac:spMkLst>
            <pc:docMk/>
            <pc:sldMk cId="3739907698" sldId="275"/>
            <ac:spMk id="238" creationId="{EBF521BB-1BE3-B86B-8FAB-4DC078656B4A}"/>
          </ac:spMkLst>
        </pc:spChg>
        <pc:spChg chg="del">
          <ac:chgData name="Darius Kuddo" userId="da7555aa-d650-4d73-b00b-d01e713f1329" providerId="ADAL" clId="{9A4B509C-EEE7-485A-994E-5919214B754D}" dt="2025-02-20T01:51:48.244" v="2200" actId="478"/>
          <ac:spMkLst>
            <pc:docMk/>
            <pc:sldMk cId="3739907698" sldId="275"/>
            <ac:spMk id="239" creationId="{56DD74FD-1D24-B1DD-5334-1D5CF6305BA6}"/>
          </ac:spMkLst>
        </pc:spChg>
        <pc:spChg chg="add mod">
          <ac:chgData name="Darius Kuddo" userId="da7555aa-d650-4d73-b00b-d01e713f1329" providerId="ADAL" clId="{9A4B509C-EEE7-485A-994E-5919214B754D}" dt="2025-02-20T01:51:49.529" v="2201"/>
          <ac:spMkLst>
            <pc:docMk/>
            <pc:sldMk cId="3739907698" sldId="275"/>
            <ac:spMk id="240" creationId="{CF830588-9FE0-4E05-607A-5CB659F8C403}"/>
          </ac:spMkLst>
        </pc:spChg>
        <pc:spChg chg="add mod">
          <ac:chgData name="Darius Kuddo" userId="da7555aa-d650-4d73-b00b-d01e713f1329" providerId="ADAL" clId="{9A4B509C-EEE7-485A-994E-5919214B754D}" dt="2025-02-20T01:51:49.529" v="2201"/>
          <ac:spMkLst>
            <pc:docMk/>
            <pc:sldMk cId="3739907698" sldId="275"/>
            <ac:spMk id="243" creationId="{BC6C96EE-93EC-5EE5-7617-B1E9445F562A}"/>
          </ac:spMkLst>
        </pc:spChg>
        <pc:spChg chg="mod">
          <ac:chgData name="Darius Kuddo" userId="da7555aa-d650-4d73-b00b-d01e713f1329" providerId="ADAL" clId="{9A4B509C-EEE7-485A-994E-5919214B754D}" dt="2025-02-20T01:51:49.529" v="2201"/>
          <ac:spMkLst>
            <pc:docMk/>
            <pc:sldMk cId="3739907698" sldId="275"/>
            <ac:spMk id="245" creationId="{B0E67FCE-5D70-4D5F-520F-633D50823FC4}"/>
          </ac:spMkLst>
        </pc:spChg>
        <pc:spChg chg="mod">
          <ac:chgData name="Darius Kuddo" userId="da7555aa-d650-4d73-b00b-d01e713f1329" providerId="ADAL" clId="{9A4B509C-EEE7-485A-994E-5919214B754D}" dt="2025-02-20T01:51:49.529" v="2201"/>
          <ac:spMkLst>
            <pc:docMk/>
            <pc:sldMk cId="3739907698" sldId="275"/>
            <ac:spMk id="246" creationId="{FCB94F13-EE93-002C-05C4-7421CA4AE0E1}"/>
          </ac:spMkLst>
        </pc:spChg>
        <pc:spChg chg="mod">
          <ac:chgData name="Darius Kuddo" userId="da7555aa-d650-4d73-b00b-d01e713f1329" providerId="ADAL" clId="{9A4B509C-EEE7-485A-994E-5919214B754D}" dt="2025-02-20T01:51:49.529" v="2201"/>
          <ac:spMkLst>
            <pc:docMk/>
            <pc:sldMk cId="3739907698" sldId="275"/>
            <ac:spMk id="247" creationId="{BEF3542B-A032-8462-0BF8-53808DF5832B}"/>
          </ac:spMkLst>
        </pc:spChg>
        <pc:spChg chg="mod">
          <ac:chgData name="Darius Kuddo" userId="da7555aa-d650-4d73-b00b-d01e713f1329" providerId="ADAL" clId="{9A4B509C-EEE7-485A-994E-5919214B754D}" dt="2025-02-20T01:51:49.529" v="2201"/>
          <ac:spMkLst>
            <pc:docMk/>
            <pc:sldMk cId="3739907698" sldId="275"/>
            <ac:spMk id="248" creationId="{7C7E5136-53FE-1537-F270-7E36750F8B13}"/>
          </ac:spMkLst>
        </pc:spChg>
        <pc:spChg chg="mod">
          <ac:chgData name="Darius Kuddo" userId="da7555aa-d650-4d73-b00b-d01e713f1329" providerId="ADAL" clId="{9A4B509C-EEE7-485A-994E-5919214B754D}" dt="2025-02-20T01:51:49.529" v="2201"/>
          <ac:spMkLst>
            <pc:docMk/>
            <pc:sldMk cId="3739907698" sldId="275"/>
            <ac:spMk id="249" creationId="{783D8CB5-C2C7-E333-50D4-C135F32C09F4}"/>
          </ac:spMkLst>
        </pc:spChg>
        <pc:spChg chg="mod">
          <ac:chgData name="Darius Kuddo" userId="da7555aa-d650-4d73-b00b-d01e713f1329" providerId="ADAL" clId="{9A4B509C-EEE7-485A-994E-5919214B754D}" dt="2025-02-20T01:51:49.529" v="2201"/>
          <ac:spMkLst>
            <pc:docMk/>
            <pc:sldMk cId="3739907698" sldId="275"/>
            <ac:spMk id="255" creationId="{FB936E70-DF95-51DE-7F37-82F3A8E647D2}"/>
          </ac:spMkLst>
        </pc:spChg>
        <pc:spChg chg="mod">
          <ac:chgData name="Darius Kuddo" userId="da7555aa-d650-4d73-b00b-d01e713f1329" providerId="ADAL" clId="{9A4B509C-EEE7-485A-994E-5919214B754D}" dt="2025-02-20T01:51:49.529" v="2201"/>
          <ac:spMkLst>
            <pc:docMk/>
            <pc:sldMk cId="3739907698" sldId="275"/>
            <ac:spMk id="256" creationId="{08992821-2566-A88C-D42D-6528DA3AA767}"/>
          </ac:spMkLst>
        </pc:spChg>
        <pc:spChg chg="mod">
          <ac:chgData name="Darius Kuddo" userId="da7555aa-d650-4d73-b00b-d01e713f1329" providerId="ADAL" clId="{9A4B509C-EEE7-485A-994E-5919214B754D}" dt="2025-02-20T01:51:49.529" v="2201"/>
          <ac:spMkLst>
            <pc:docMk/>
            <pc:sldMk cId="3739907698" sldId="275"/>
            <ac:spMk id="258" creationId="{929D1F59-E418-E4F1-B489-CF47542FC38C}"/>
          </ac:spMkLst>
        </pc:spChg>
        <pc:spChg chg="mod">
          <ac:chgData name="Darius Kuddo" userId="da7555aa-d650-4d73-b00b-d01e713f1329" providerId="ADAL" clId="{9A4B509C-EEE7-485A-994E-5919214B754D}" dt="2025-02-20T01:51:49.529" v="2201"/>
          <ac:spMkLst>
            <pc:docMk/>
            <pc:sldMk cId="3739907698" sldId="275"/>
            <ac:spMk id="260" creationId="{16975F35-F654-EA97-C43F-1976CA170989}"/>
          </ac:spMkLst>
        </pc:spChg>
        <pc:spChg chg="mod">
          <ac:chgData name="Darius Kuddo" userId="da7555aa-d650-4d73-b00b-d01e713f1329" providerId="ADAL" clId="{9A4B509C-EEE7-485A-994E-5919214B754D}" dt="2025-02-20T01:51:49.529" v="2201"/>
          <ac:spMkLst>
            <pc:docMk/>
            <pc:sldMk cId="3739907698" sldId="275"/>
            <ac:spMk id="261" creationId="{4429059F-74C7-6996-C00B-09668EF82407}"/>
          </ac:spMkLst>
        </pc:spChg>
        <pc:spChg chg="mod">
          <ac:chgData name="Darius Kuddo" userId="da7555aa-d650-4d73-b00b-d01e713f1329" providerId="ADAL" clId="{9A4B509C-EEE7-485A-994E-5919214B754D}" dt="2025-02-20T01:51:49.529" v="2201"/>
          <ac:spMkLst>
            <pc:docMk/>
            <pc:sldMk cId="3739907698" sldId="275"/>
            <ac:spMk id="262" creationId="{8B3F624C-50F5-9A0E-CC3D-743852B7D9A1}"/>
          </ac:spMkLst>
        </pc:spChg>
        <pc:spChg chg="mod">
          <ac:chgData name="Darius Kuddo" userId="da7555aa-d650-4d73-b00b-d01e713f1329" providerId="ADAL" clId="{9A4B509C-EEE7-485A-994E-5919214B754D}" dt="2025-02-20T01:51:49.529" v="2201"/>
          <ac:spMkLst>
            <pc:docMk/>
            <pc:sldMk cId="3739907698" sldId="275"/>
            <ac:spMk id="263" creationId="{934F2793-23D8-11D1-5A65-9B222CC67B29}"/>
          </ac:spMkLst>
        </pc:spChg>
        <pc:spChg chg="mod">
          <ac:chgData name="Darius Kuddo" userId="da7555aa-d650-4d73-b00b-d01e713f1329" providerId="ADAL" clId="{9A4B509C-EEE7-485A-994E-5919214B754D}" dt="2025-02-20T01:51:49.529" v="2201"/>
          <ac:spMkLst>
            <pc:docMk/>
            <pc:sldMk cId="3739907698" sldId="275"/>
            <ac:spMk id="264" creationId="{C78EC332-6A66-94FA-2D74-BCBDC899AE41}"/>
          </ac:spMkLst>
        </pc:spChg>
        <pc:spChg chg="mod">
          <ac:chgData name="Darius Kuddo" userId="da7555aa-d650-4d73-b00b-d01e713f1329" providerId="ADAL" clId="{9A4B509C-EEE7-485A-994E-5919214B754D}" dt="2025-02-20T01:51:49.529" v="2201"/>
          <ac:spMkLst>
            <pc:docMk/>
            <pc:sldMk cId="3739907698" sldId="275"/>
            <ac:spMk id="266" creationId="{4FCCE129-8115-15E2-E018-98B9F2C70ADF}"/>
          </ac:spMkLst>
        </pc:spChg>
        <pc:spChg chg="mod">
          <ac:chgData name="Darius Kuddo" userId="da7555aa-d650-4d73-b00b-d01e713f1329" providerId="ADAL" clId="{9A4B509C-EEE7-485A-994E-5919214B754D}" dt="2025-02-20T01:51:49.529" v="2201"/>
          <ac:spMkLst>
            <pc:docMk/>
            <pc:sldMk cId="3739907698" sldId="275"/>
            <ac:spMk id="267" creationId="{C89C26F9-2AFB-E0A9-78FA-81A20A373AA7}"/>
          </ac:spMkLst>
        </pc:spChg>
        <pc:spChg chg="mod">
          <ac:chgData name="Darius Kuddo" userId="da7555aa-d650-4d73-b00b-d01e713f1329" providerId="ADAL" clId="{9A4B509C-EEE7-485A-994E-5919214B754D}" dt="2025-02-20T01:51:49.529" v="2201"/>
          <ac:spMkLst>
            <pc:docMk/>
            <pc:sldMk cId="3739907698" sldId="275"/>
            <ac:spMk id="268" creationId="{246C3EB2-A0AD-97B0-6542-8FFF7232A788}"/>
          </ac:spMkLst>
        </pc:spChg>
        <pc:spChg chg="mod">
          <ac:chgData name="Darius Kuddo" userId="da7555aa-d650-4d73-b00b-d01e713f1329" providerId="ADAL" clId="{9A4B509C-EEE7-485A-994E-5919214B754D}" dt="2025-02-20T01:51:49.529" v="2201"/>
          <ac:spMkLst>
            <pc:docMk/>
            <pc:sldMk cId="3739907698" sldId="275"/>
            <ac:spMk id="269" creationId="{C84B291D-72A4-7730-33F4-F45F9821B520}"/>
          </ac:spMkLst>
        </pc:spChg>
        <pc:spChg chg="mod">
          <ac:chgData name="Darius Kuddo" userId="da7555aa-d650-4d73-b00b-d01e713f1329" providerId="ADAL" clId="{9A4B509C-EEE7-485A-994E-5919214B754D}" dt="2025-02-20T01:51:49.529" v="2201"/>
          <ac:spMkLst>
            <pc:docMk/>
            <pc:sldMk cId="3739907698" sldId="275"/>
            <ac:spMk id="270" creationId="{597A7068-EDCA-BCD5-4244-EF49D3625FF4}"/>
          </ac:spMkLst>
        </pc:spChg>
        <pc:spChg chg="mod">
          <ac:chgData name="Darius Kuddo" userId="da7555aa-d650-4d73-b00b-d01e713f1329" providerId="ADAL" clId="{9A4B509C-EEE7-485A-994E-5919214B754D}" dt="2025-02-20T01:51:49.529" v="2201"/>
          <ac:spMkLst>
            <pc:docMk/>
            <pc:sldMk cId="3739907698" sldId="275"/>
            <ac:spMk id="271" creationId="{13D24AE3-6000-511E-0B82-CA66126C680E}"/>
          </ac:spMkLst>
        </pc:spChg>
        <pc:spChg chg="mod">
          <ac:chgData name="Darius Kuddo" userId="da7555aa-d650-4d73-b00b-d01e713f1329" providerId="ADAL" clId="{9A4B509C-EEE7-485A-994E-5919214B754D}" dt="2025-02-20T01:51:49.529" v="2201"/>
          <ac:spMkLst>
            <pc:docMk/>
            <pc:sldMk cId="3739907698" sldId="275"/>
            <ac:spMk id="272" creationId="{28E7B0E6-DC09-95EB-D305-DEB2645C511E}"/>
          </ac:spMkLst>
        </pc:spChg>
        <pc:spChg chg="mod">
          <ac:chgData name="Darius Kuddo" userId="da7555aa-d650-4d73-b00b-d01e713f1329" providerId="ADAL" clId="{9A4B509C-EEE7-485A-994E-5919214B754D}" dt="2025-02-20T01:51:49.529" v="2201"/>
          <ac:spMkLst>
            <pc:docMk/>
            <pc:sldMk cId="3739907698" sldId="275"/>
            <ac:spMk id="273" creationId="{F968455D-2C73-785D-DF1D-8072EA2DF004}"/>
          </ac:spMkLst>
        </pc:spChg>
        <pc:spChg chg="mod">
          <ac:chgData name="Darius Kuddo" userId="da7555aa-d650-4d73-b00b-d01e713f1329" providerId="ADAL" clId="{9A4B509C-EEE7-485A-994E-5919214B754D}" dt="2025-02-20T01:51:49.529" v="2201"/>
          <ac:spMkLst>
            <pc:docMk/>
            <pc:sldMk cId="3739907698" sldId="275"/>
            <ac:spMk id="274" creationId="{5AADD39B-1E91-19D4-F176-A1A146632C9C}"/>
          </ac:spMkLst>
        </pc:spChg>
        <pc:spChg chg="mod">
          <ac:chgData name="Darius Kuddo" userId="da7555aa-d650-4d73-b00b-d01e713f1329" providerId="ADAL" clId="{9A4B509C-EEE7-485A-994E-5919214B754D}" dt="2025-02-20T01:51:49.529" v="2201"/>
          <ac:spMkLst>
            <pc:docMk/>
            <pc:sldMk cId="3739907698" sldId="275"/>
            <ac:spMk id="275" creationId="{73342318-F1EC-E0AE-4AE3-6E4888F07347}"/>
          </ac:spMkLst>
        </pc:spChg>
        <pc:spChg chg="mod">
          <ac:chgData name="Darius Kuddo" userId="da7555aa-d650-4d73-b00b-d01e713f1329" providerId="ADAL" clId="{9A4B509C-EEE7-485A-994E-5919214B754D}" dt="2025-02-20T01:51:49.529" v="2201"/>
          <ac:spMkLst>
            <pc:docMk/>
            <pc:sldMk cId="3739907698" sldId="275"/>
            <ac:spMk id="276" creationId="{E7BD63CB-0F19-9F22-F5FA-48A89C6C09B0}"/>
          </ac:spMkLst>
        </pc:spChg>
        <pc:spChg chg="mod">
          <ac:chgData name="Darius Kuddo" userId="da7555aa-d650-4d73-b00b-d01e713f1329" providerId="ADAL" clId="{9A4B509C-EEE7-485A-994E-5919214B754D}" dt="2025-02-20T01:51:49.529" v="2201"/>
          <ac:spMkLst>
            <pc:docMk/>
            <pc:sldMk cId="3739907698" sldId="275"/>
            <ac:spMk id="277" creationId="{3D2D0181-B06E-5EC3-14E9-8AD632BC33F6}"/>
          </ac:spMkLst>
        </pc:spChg>
        <pc:spChg chg="mod">
          <ac:chgData name="Darius Kuddo" userId="da7555aa-d650-4d73-b00b-d01e713f1329" providerId="ADAL" clId="{9A4B509C-EEE7-485A-994E-5919214B754D}" dt="2025-02-20T01:51:49.529" v="2201"/>
          <ac:spMkLst>
            <pc:docMk/>
            <pc:sldMk cId="3739907698" sldId="275"/>
            <ac:spMk id="278" creationId="{0C7C4E0C-C883-7C32-D0D4-E7F1D6FED9C9}"/>
          </ac:spMkLst>
        </pc:spChg>
        <pc:spChg chg="mod">
          <ac:chgData name="Darius Kuddo" userId="da7555aa-d650-4d73-b00b-d01e713f1329" providerId="ADAL" clId="{9A4B509C-EEE7-485A-994E-5919214B754D}" dt="2025-02-20T01:51:49.529" v="2201"/>
          <ac:spMkLst>
            <pc:docMk/>
            <pc:sldMk cId="3739907698" sldId="275"/>
            <ac:spMk id="279" creationId="{EC4200F4-D1F3-8E26-81C3-19C60756F3C2}"/>
          </ac:spMkLst>
        </pc:spChg>
        <pc:spChg chg="mod">
          <ac:chgData name="Darius Kuddo" userId="da7555aa-d650-4d73-b00b-d01e713f1329" providerId="ADAL" clId="{9A4B509C-EEE7-485A-994E-5919214B754D}" dt="2025-02-20T01:51:49.529" v="2201"/>
          <ac:spMkLst>
            <pc:docMk/>
            <pc:sldMk cId="3739907698" sldId="275"/>
            <ac:spMk id="280" creationId="{83641526-39EB-69DF-75AB-CA52BF58D908}"/>
          </ac:spMkLst>
        </pc:spChg>
        <pc:spChg chg="mod">
          <ac:chgData name="Darius Kuddo" userId="da7555aa-d650-4d73-b00b-d01e713f1329" providerId="ADAL" clId="{9A4B509C-EEE7-485A-994E-5919214B754D}" dt="2025-02-20T01:51:49.529" v="2201"/>
          <ac:spMkLst>
            <pc:docMk/>
            <pc:sldMk cId="3739907698" sldId="275"/>
            <ac:spMk id="282" creationId="{E403520D-472B-2B98-8E04-C5AB7F0EBE9B}"/>
          </ac:spMkLst>
        </pc:spChg>
        <pc:spChg chg="mod">
          <ac:chgData name="Darius Kuddo" userId="da7555aa-d650-4d73-b00b-d01e713f1329" providerId="ADAL" clId="{9A4B509C-EEE7-485A-994E-5919214B754D}" dt="2025-02-20T01:51:49.529" v="2201"/>
          <ac:spMkLst>
            <pc:docMk/>
            <pc:sldMk cId="3739907698" sldId="275"/>
            <ac:spMk id="283" creationId="{577907B0-79F7-884D-F177-8D55011B2DAA}"/>
          </ac:spMkLst>
        </pc:spChg>
        <pc:spChg chg="mod">
          <ac:chgData name="Darius Kuddo" userId="da7555aa-d650-4d73-b00b-d01e713f1329" providerId="ADAL" clId="{9A4B509C-EEE7-485A-994E-5919214B754D}" dt="2025-02-20T01:51:49.529" v="2201"/>
          <ac:spMkLst>
            <pc:docMk/>
            <pc:sldMk cId="3739907698" sldId="275"/>
            <ac:spMk id="284" creationId="{03917294-F48C-4B03-E980-46E49FFF5FE1}"/>
          </ac:spMkLst>
        </pc:spChg>
        <pc:spChg chg="mod">
          <ac:chgData name="Darius Kuddo" userId="da7555aa-d650-4d73-b00b-d01e713f1329" providerId="ADAL" clId="{9A4B509C-EEE7-485A-994E-5919214B754D}" dt="2025-02-20T01:51:49.529" v="2201"/>
          <ac:spMkLst>
            <pc:docMk/>
            <pc:sldMk cId="3739907698" sldId="275"/>
            <ac:spMk id="285" creationId="{9FFBB28F-63F0-297E-5185-FA1D2B666D43}"/>
          </ac:spMkLst>
        </pc:spChg>
        <pc:spChg chg="mod">
          <ac:chgData name="Darius Kuddo" userId="da7555aa-d650-4d73-b00b-d01e713f1329" providerId="ADAL" clId="{9A4B509C-EEE7-485A-994E-5919214B754D}" dt="2025-02-20T01:51:49.529" v="2201"/>
          <ac:spMkLst>
            <pc:docMk/>
            <pc:sldMk cId="3739907698" sldId="275"/>
            <ac:spMk id="286" creationId="{84FFCDD2-1B9A-1037-DDD1-E5F96C8976F6}"/>
          </ac:spMkLst>
        </pc:spChg>
        <pc:spChg chg="mod">
          <ac:chgData name="Darius Kuddo" userId="da7555aa-d650-4d73-b00b-d01e713f1329" providerId="ADAL" clId="{9A4B509C-EEE7-485A-994E-5919214B754D}" dt="2025-02-20T01:51:49.529" v="2201"/>
          <ac:spMkLst>
            <pc:docMk/>
            <pc:sldMk cId="3739907698" sldId="275"/>
            <ac:spMk id="287" creationId="{1C90A9E0-43E2-485B-686E-D621E1157533}"/>
          </ac:spMkLst>
        </pc:spChg>
        <pc:spChg chg="mod">
          <ac:chgData name="Darius Kuddo" userId="da7555aa-d650-4d73-b00b-d01e713f1329" providerId="ADAL" clId="{9A4B509C-EEE7-485A-994E-5919214B754D}" dt="2025-02-20T01:51:49.529" v="2201"/>
          <ac:spMkLst>
            <pc:docMk/>
            <pc:sldMk cId="3739907698" sldId="275"/>
            <ac:spMk id="288" creationId="{0A0CFF44-AF69-B511-9448-2E2A2A1F82EC}"/>
          </ac:spMkLst>
        </pc:spChg>
        <pc:spChg chg="mod">
          <ac:chgData name="Darius Kuddo" userId="da7555aa-d650-4d73-b00b-d01e713f1329" providerId="ADAL" clId="{9A4B509C-EEE7-485A-994E-5919214B754D}" dt="2025-02-20T01:51:49.529" v="2201"/>
          <ac:spMkLst>
            <pc:docMk/>
            <pc:sldMk cId="3739907698" sldId="275"/>
            <ac:spMk id="289" creationId="{79BA49F5-824F-D7A8-A854-10ACFB14FD8B}"/>
          </ac:spMkLst>
        </pc:spChg>
        <pc:spChg chg="mod">
          <ac:chgData name="Darius Kuddo" userId="da7555aa-d650-4d73-b00b-d01e713f1329" providerId="ADAL" clId="{9A4B509C-EEE7-485A-994E-5919214B754D}" dt="2025-02-20T01:51:49.529" v="2201"/>
          <ac:spMkLst>
            <pc:docMk/>
            <pc:sldMk cId="3739907698" sldId="275"/>
            <ac:spMk id="290" creationId="{51CBB7C1-F8EC-7954-C89C-67196024879B}"/>
          </ac:spMkLst>
        </pc:spChg>
        <pc:spChg chg="mod">
          <ac:chgData name="Darius Kuddo" userId="da7555aa-d650-4d73-b00b-d01e713f1329" providerId="ADAL" clId="{9A4B509C-EEE7-485A-994E-5919214B754D}" dt="2025-02-20T01:51:49.529" v="2201"/>
          <ac:spMkLst>
            <pc:docMk/>
            <pc:sldMk cId="3739907698" sldId="275"/>
            <ac:spMk id="291" creationId="{EA09AFBC-1E33-D8EC-45C3-A3B00190B6B0}"/>
          </ac:spMkLst>
        </pc:spChg>
        <pc:spChg chg="mod">
          <ac:chgData name="Darius Kuddo" userId="da7555aa-d650-4d73-b00b-d01e713f1329" providerId="ADAL" clId="{9A4B509C-EEE7-485A-994E-5919214B754D}" dt="2025-02-20T01:51:49.529" v="2201"/>
          <ac:spMkLst>
            <pc:docMk/>
            <pc:sldMk cId="3739907698" sldId="275"/>
            <ac:spMk id="292" creationId="{488E9E79-2311-A4A4-3B2F-92616B968A69}"/>
          </ac:spMkLst>
        </pc:spChg>
        <pc:spChg chg="mod">
          <ac:chgData name="Darius Kuddo" userId="da7555aa-d650-4d73-b00b-d01e713f1329" providerId="ADAL" clId="{9A4B509C-EEE7-485A-994E-5919214B754D}" dt="2025-02-20T01:51:49.529" v="2201"/>
          <ac:spMkLst>
            <pc:docMk/>
            <pc:sldMk cId="3739907698" sldId="275"/>
            <ac:spMk id="293" creationId="{18DCFF23-6123-C4E7-37A6-D446DBA1985F}"/>
          </ac:spMkLst>
        </pc:spChg>
        <pc:spChg chg="mod">
          <ac:chgData name="Darius Kuddo" userId="da7555aa-d650-4d73-b00b-d01e713f1329" providerId="ADAL" clId="{9A4B509C-EEE7-485A-994E-5919214B754D}" dt="2025-02-20T01:51:49.529" v="2201"/>
          <ac:spMkLst>
            <pc:docMk/>
            <pc:sldMk cId="3739907698" sldId="275"/>
            <ac:spMk id="294" creationId="{F49CAF97-4CCA-5218-A6BE-090781FC2FC5}"/>
          </ac:spMkLst>
        </pc:spChg>
        <pc:spChg chg="mod">
          <ac:chgData name="Darius Kuddo" userId="da7555aa-d650-4d73-b00b-d01e713f1329" providerId="ADAL" clId="{9A4B509C-EEE7-485A-994E-5919214B754D}" dt="2025-02-20T01:51:49.529" v="2201"/>
          <ac:spMkLst>
            <pc:docMk/>
            <pc:sldMk cId="3739907698" sldId="275"/>
            <ac:spMk id="295" creationId="{9920C4E8-060A-A113-1485-7864308BA6B0}"/>
          </ac:spMkLst>
        </pc:spChg>
        <pc:spChg chg="mod">
          <ac:chgData name="Darius Kuddo" userId="da7555aa-d650-4d73-b00b-d01e713f1329" providerId="ADAL" clId="{9A4B509C-EEE7-485A-994E-5919214B754D}" dt="2025-02-20T01:51:49.529" v="2201"/>
          <ac:spMkLst>
            <pc:docMk/>
            <pc:sldMk cId="3739907698" sldId="275"/>
            <ac:spMk id="296" creationId="{D04BDD77-5B90-0256-C29B-C5019FCDC659}"/>
          </ac:spMkLst>
        </pc:spChg>
        <pc:spChg chg="mod">
          <ac:chgData name="Darius Kuddo" userId="da7555aa-d650-4d73-b00b-d01e713f1329" providerId="ADAL" clId="{9A4B509C-EEE7-485A-994E-5919214B754D}" dt="2025-02-20T01:51:49.529" v="2201"/>
          <ac:spMkLst>
            <pc:docMk/>
            <pc:sldMk cId="3739907698" sldId="275"/>
            <ac:spMk id="299" creationId="{46FE0657-8D04-A028-62CC-53879751F281}"/>
          </ac:spMkLst>
        </pc:spChg>
        <pc:spChg chg="mod">
          <ac:chgData name="Darius Kuddo" userId="da7555aa-d650-4d73-b00b-d01e713f1329" providerId="ADAL" clId="{9A4B509C-EEE7-485A-994E-5919214B754D}" dt="2025-02-20T01:51:49.529" v="2201"/>
          <ac:spMkLst>
            <pc:docMk/>
            <pc:sldMk cId="3739907698" sldId="275"/>
            <ac:spMk id="300" creationId="{4824C401-68BA-6D8B-3B0C-A7793511DFA2}"/>
          </ac:spMkLst>
        </pc:spChg>
        <pc:spChg chg="mod">
          <ac:chgData name="Darius Kuddo" userId="da7555aa-d650-4d73-b00b-d01e713f1329" providerId="ADAL" clId="{9A4B509C-EEE7-485A-994E-5919214B754D}" dt="2025-02-20T01:51:49.529" v="2201"/>
          <ac:spMkLst>
            <pc:docMk/>
            <pc:sldMk cId="3739907698" sldId="275"/>
            <ac:spMk id="301" creationId="{6227E2F0-09BA-F88A-C5FA-6B277ED488CB}"/>
          </ac:spMkLst>
        </pc:spChg>
        <pc:spChg chg="del">
          <ac:chgData name="Darius Kuddo" userId="da7555aa-d650-4d73-b00b-d01e713f1329" providerId="ADAL" clId="{9A4B509C-EEE7-485A-994E-5919214B754D}" dt="2025-02-20T01:51:48.244" v="2200" actId="478"/>
          <ac:spMkLst>
            <pc:docMk/>
            <pc:sldMk cId="3739907698" sldId="275"/>
            <ac:spMk id="302" creationId="{443B5CEB-B21C-080C-864D-DAA9BB7065E6}"/>
          </ac:spMkLst>
        </pc:spChg>
        <pc:spChg chg="mod">
          <ac:chgData name="Darius Kuddo" userId="da7555aa-d650-4d73-b00b-d01e713f1329" providerId="ADAL" clId="{9A4B509C-EEE7-485A-994E-5919214B754D}" dt="2025-02-20T01:51:49.529" v="2201"/>
          <ac:spMkLst>
            <pc:docMk/>
            <pc:sldMk cId="3739907698" sldId="275"/>
            <ac:spMk id="303" creationId="{23C1923B-232F-E0C6-40F7-3020560360BA}"/>
          </ac:spMkLst>
        </pc:spChg>
        <pc:spChg chg="mod">
          <ac:chgData name="Darius Kuddo" userId="da7555aa-d650-4d73-b00b-d01e713f1329" providerId="ADAL" clId="{9A4B509C-EEE7-485A-994E-5919214B754D}" dt="2025-02-20T01:51:49.529" v="2201"/>
          <ac:spMkLst>
            <pc:docMk/>
            <pc:sldMk cId="3739907698" sldId="275"/>
            <ac:spMk id="304" creationId="{3673FC74-4E0B-5192-69BA-8875297EB465}"/>
          </ac:spMkLst>
        </pc:spChg>
        <pc:spChg chg="mod">
          <ac:chgData name="Darius Kuddo" userId="da7555aa-d650-4d73-b00b-d01e713f1329" providerId="ADAL" clId="{9A4B509C-EEE7-485A-994E-5919214B754D}" dt="2025-02-20T01:51:49.529" v="2201"/>
          <ac:spMkLst>
            <pc:docMk/>
            <pc:sldMk cId="3739907698" sldId="275"/>
            <ac:spMk id="309" creationId="{BD9EF0EF-ABBF-56EB-A390-812EB91C96F4}"/>
          </ac:spMkLst>
        </pc:spChg>
        <pc:spChg chg="mod">
          <ac:chgData name="Darius Kuddo" userId="da7555aa-d650-4d73-b00b-d01e713f1329" providerId="ADAL" clId="{9A4B509C-EEE7-485A-994E-5919214B754D}" dt="2025-02-20T01:51:49.529" v="2201"/>
          <ac:spMkLst>
            <pc:docMk/>
            <pc:sldMk cId="3739907698" sldId="275"/>
            <ac:spMk id="312" creationId="{D68D2E58-C2BA-E36B-EBB3-53763BE5D0DC}"/>
          </ac:spMkLst>
        </pc:spChg>
        <pc:spChg chg="mod">
          <ac:chgData name="Darius Kuddo" userId="da7555aa-d650-4d73-b00b-d01e713f1329" providerId="ADAL" clId="{9A4B509C-EEE7-485A-994E-5919214B754D}" dt="2025-02-20T01:51:49.529" v="2201"/>
          <ac:spMkLst>
            <pc:docMk/>
            <pc:sldMk cId="3739907698" sldId="275"/>
            <ac:spMk id="313" creationId="{855CB467-F4A3-AAFA-0C13-7EFB0D0AB70A}"/>
          </ac:spMkLst>
        </pc:spChg>
        <pc:spChg chg="mod">
          <ac:chgData name="Darius Kuddo" userId="da7555aa-d650-4d73-b00b-d01e713f1329" providerId="ADAL" clId="{9A4B509C-EEE7-485A-994E-5919214B754D}" dt="2025-02-20T01:51:49.529" v="2201"/>
          <ac:spMkLst>
            <pc:docMk/>
            <pc:sldMk cId="3739907698" sldId="275"/>
            <ac:spMk id="314" creationId="{C5D6147A-42BE-662B-2087-9C3A23AA4947}"/>
          </ac:spMkLst>
        </pc:spChg>
        <pc:spChg chg="mod">
          <ac:chgData name="Darius Kuddo" userId="da7555aa-d650-4d73-b00b-d01e713f1329" providerId="ADAL" clId="{9A4B509C-EEE7-485A-994E-5919214B754D}" dt="2025-02-20T01:51:49.529" v="2201"/>
          <ac:spMkLst>
            <pc:docMk/>
            <pc:sldMk cId="3739907698" sldId="275"/>
            <ac:spMk id="316" creationId="{05029362-048C-1FC9-DFBA-01526B0CDD38}"/>
          </ac:spMkLst>
        </pc:spChg>
        <pc:spChg chg="mod">
          <ac:chgData name="Darius Kuddo" userId="da7555aa-d650-4d73-b00b-d01e713f1329" providerId="ADAL" clId="{9A4B509C-EEE7-485A-994E-5919214B754D}" dt="2025-02-20T01:51:49.529" v="2201"/>
          <ac:spMkLst>
            <pc:docMk/>
            <pc:sldMk cId="3739907698" sldId="275"/>
            <ac:spMk id="317" creationId="{387C9A09-A690-0EC4-E867-2FE073E95EFD}"/>
          </ac:spMkLst>
        </pc:spChg>
        <pc:spChg chg="mod">
          <ac:chgData name="Darius Kuddo" userId="da7555aa-d650-4d73-b00b-d01e713f1329" providerId="ADAL" clId="{9A4B509C-EEE7-485A-994E-5919214B754D}" dt="2025-02-20T01:51:49.529" v="2201"/>
          <ac:spMkLst>
            <pc:docMk/>
            <pc:sldMk cId="3739907698" sldId="275"/>
            <ac:spMk id="318" creationId="{5B8382AF-60C0-2E0E-54DD-2CBD226568BD}"/>
          </ac:spMkLst>
        </pc:spChg>
        <pc:spChg chg="mod">
          <ac:chgData name="Darius Kuddo" userId="da7555aa-d650-4d73-b00b-d01e713f1329" providerId="ADAL" clId="{9A4B509C-EEE7-485A-994E-5919214B754D}" dt="2025-02-20T01:51:49.529" v="2201"/>
          <ac:spMkLst>
            <pc:docMk/>
            <pc:sldMk cId="3739907698" sldId="275"/>
            <ac:spMk id="319" creationId="{4BAA8132-E6D7-100A-A1B3-F9FFBF0A6417}"/>
          </ac:spMkLst>
        </pc:spChg>
        <pc:spChg chg="mod">
          <ac:chgData name="Darius Kuddo" userId="da7555aa-d650-4d73-b00b-d01e713f1329" providerId="ADAL" clId="{9A4B509C-EEE7-485A-994E-5919214B754D}" dt="2025-02-20T01:51:49.529" v="2201"/>
          <ac:spMkLst>
            <pc:docMk/>
            <pc:sldMk cId="3739907698" sldId="275"/>
            <ac:spMk id="320" creationId="{85AFBDF5-589B-DB13-43B6-CE9E95E86612}"/>
          </ac:spMkLst>
        </pc:spChg>
        <pc:spChg chg="mod">
          <ac:chgData name="Darius Kuddo" userId="da7555aa-d650-4d73-b00b-d01e713f1329" providerId="ADAL" clId="{9A4B509C-EEE7-485A-994E-5919214B754D}" dt="2025-02-20T01:51:49.529" v="2201"/>
          <ac:spMkLst>
            <pc:docMk/>
            <pc:sldMk cId="3739907698" sldId="275"/>
            <ac:spMk id="321" creationId="{E5342CFF-15E9-B541-8D54-6F6348115537}"/>
          </ac:spMkLst>
        </pc:spChg>
        <pc:spChg chg="mod">
          <ac:chgData name="Darius Kuddo" userId="da7555aa-d650-4d73-b00b-d01e713f1329" providerId="ADAL" clId="{9A4B509C-EEE7-485A-994E-5919214B754D}" dt="2025-02-20T01:51:49.529" v="2201"/>
          <ac:spMkLst>
            <pc:docMk/>
            <pc:sldMk cId="3739907698" sldId="275"/>
            <ac:spMk id="322" creationId="{5F98344B-A8DF-3969-3174-8A78618B6040}"/>
          </ac:spMkLst>
        </pc:spChg>
        <pc:spChg chg="mod">
          <ac:chgData name="Darius Kuddo" userId="da7555aa-d650-4d73-b00b-d01e713f1329" providerId="ADAL" clId="{9A4B509C-EEE7-485A-994E-5919214B754D}" dt="2025-02-20T01:51:49.529" v="2201"/>
          <ac:spMkLst>
            <pc:docMk/>
            <pc:sldMk cId="3739907698" sldId="275"/>
            <ac:spMk id="323" creationId="{025EF7C9-4C77-009B-C731-CA81F5F56F60}"/>
          </ac:spMkLst>
        </pc:spChg>
        <pc:spChg chg="mod">
          <ac:chgData name="Darius Kuddo" userId="da7555aa-d650-4d73-b00b-d01e713f1329" providerId="ADAL" clId="{9A4B509C-EEE7-485A-994E-5919214B754D}" dt="2025-02-20T01:51:49.529" v="2201"/>
          <ac:spMkLst>
            <pc:docMk/>
            <pc:sldMk cId="3739907698" sldId="275"/>
            <ac:spMk id="324" creationId="{ECA8A768-C41A-A0C6-BD19-3A43796A9692}"/>
          </ac:spMkLst>
        </pc:spChg>
        <pc:spChg chg="mod">
          <ac:chgData name="Darius Kuddo" userId="da7555aa-d650-4d73-b00b-d01e713f1329" providerId="ADAL" clId="{9A4B509C-EEE7-485A-994E-5919214B754D}" dt="2025-02-20T01:51:49.529" v="2201"/>
          <ac:spMkLst>
            <pc:docMk/>
            <pc:sldMk cId="3739907698" sldId="275"/>
            <ac:spMk id="325" creationId="{D8D80DFD-6EAF-05EA-5EFA-F6AB7359C491}"/>
          </ac:spMkLst>
        </pc:spChg>
        <pc:spChg chg="mod">
          <ac:chgData name="Darius Kuddo" userId="da7555aa-d650-4d73-b00b-d01e713f1329" providerId="ADAL" clId="{9A4B509C-EEE7-485A-994E-5919214B754D}" dt="2025-02-20T01:51:49.529" v="2201"/>
          <ac:spMkLst>
            <pc:docMk/>
            <pc:sldMk cId="3739907698" sldId="275"/>
            <ac:spMk id="326" creationId="{4CBCD8EA-C67C-B5E6-362C-7B54F0DBE9D2}"/>
          </ac:spMkLst>
        </pc:spChg>
        <pc:spChg chg="mod">
          <ac:chgData name="Darius Kuddo" userId="da7555aa-d650-4d73-b00b-d01e713f1329" providerId="ADAL" clId="{9A4B509C-EEE7-485A-994E-5919214B754D}" dt="2025-02-20T01:51:49.529" v="2201"/>
          <ac:spMkLst>
            <pc:docMk/>
            <pc:sldMk cId="3739907698" sldId="275"/>
            <ac:spMk id="327" creationId="{29B69BD8-81B2-66DB-62D9-74411F131DCB}"/>
          </ac:spMkLst>
        </pc:spChg>
        <pc:spChg chg="mod">
          <ac:chgData name="Darius Kuddo" userId="da7555aa-d650-4d73-b00b-d01e713f1329" providerId="ADAL" clId="{9A4B509C-EEE7-485A-994E-5919214B754D}" dt="2025-02-20T01:51:49.529" v="2201"/>
          <ac:spMkLst>
            <pc:docMk/>
            <pc:sldMk cId="3739907698" sldId="275"/>
            <ac:spMk id="328" creationId="{CE8E045A-C81E-4346-83A8-C81BEAEC0761}"/>
          </ac:spMkLst>
        </pc:spChg>
        <pc:spChg chg="mod">
          <ac:chgData name="Darius Kuddo" userId="da7555aa-d650-4d73-b00b-d01e713f1329" providerId="ADAL" clId="{9A4B509C-EEE7-485A-994E-5919214B754D}" dt="2025-02-20T01:51:49.529" v="2201"/>
          <ac:spMkLst>
            <pc:docMk/>
            <pc:sldMk cId="3739907698" sldId="275"/>
            <ac:spMk id="329" creationId="{3EBD11ED-8EA8-993A-DE21-B1E799478358}"/>
          </ac:spMkLst>
        </pc:spChg>
        <pc:spChg chg="mod">
          <ac:chgData name="Darius Kuddo" userId="da7555aa-d650-4d73-b00b-d01e713f1329" providerId="ADAL" clId="{9A4B509C-EEE7-485A-994E-5919214B754D}" dt="2025-02-20T01:51:49.529" v="2201"/>
          <ac:spMkLst>
            <pc:docMk/>
            <pc:sldMk cId="3739907698" sldId="275"/>
            <ac:spMk id="330" creationId="{FDCA468D-5299-C7B0-52B8-0563C4867E31}"/>
          </ac:spMkLst>
        </pc:spChg>
        <pc:spChg chg="mod">
          <ac:chgData name="Darius Kuddo" userId="da7555aa-d650-4d73-b00b-d01e713f1329" providerId="ADAL" clId="{9A4B509C-EEE7-485A-994E-5919214B754D}" dt="2025-02-20T01:51:49.529" v="2201"/>
          <ac:spMkLst>
            <pc:docMk/>
            <pc:sldMk cId="3739907698" sldId="275"/>
            <ac:spMk id="331" creationId="{5920540C-8EE1-98C0-81EC-5E77C2DB7865}"/>
          </ac:spMkLst>
        </pc:spChg>
        <pc:spChg chg="mod">
          <ac:chgData name="Darius Kuddo" userId="da7555aa-d650-4d73-b00b-d01e713f1329" providerId="ADAL" clId="{9A4B509C-EEE7-485A-994E-5919214B754D}" dt="2025-02-20T01:51:49.529" v="2201"/>
          <ac:spMkLst>
            <pc:docMk/>
            <pc:sldMk cId="3739907698" sldId="275"/>
            <ac:spMk id="332" creationId="{FE500462-F743-60CA-E04A-ADB312C21D44}"/>
          </ac:spMkLst>
        </pc:spChg>
        <pc:spChg chg="mod">
          <ac:chgData name="Darius Kuddo" userId="da7555aa-d650-4d73-b00b-d01e713f1329" providerId="ADAL" clId="{9A4B509C-EEE7-485A-994E-5919214B754D}" dt="2025-02-20T01:51:49.529" v="2201"/>
          <ac:spMkLst>
            <pc:docMk/>
            <pc:sldMk cId="3739907698" sldId="275"/>
            <ac:spMk id="333" creationId="{9C903FEF-F8EA-3A21-0FDA-B80C4A6BBC02}"/>
          </ac:spMkLst>
        </pc:spChg>
        <pc:spChg chg="mod">
          <ac:chgData name="Darius Kuddo" userId="da7555aa-d650-4d73-b00b-d01e713f1329" providerId="ADAL" clId="{9A4B509C-EEE7-485A-994E-5919214B754D}" dt="2025-02-20T01:51:49.529" v="2201"/>
          <ac:spMkLst>
            <pc:docMk/>
            <pc:sldMk cId="3739907698" sldId="275"/>
            <ac:spMk id="334" creationId="{31923D3F-EC33-11A9-9E29-E1EDDB1A02C8}"/>
          </ac:spMkLst>
        </pc:spChg>
        <pc:spChg chg="mod">
          <ac:chgData name="Darius Kuddo" userId="da7555aa-d650-4d73-b00b-d01e713f1329" providerId="ADAL" clId="{9A4B509C-EEE7-485A-994E-5919214B754D}" dt="2025-02-20T01:51:49.529" v="2201"/>
          <ac:spMkLst>
            <pc:docMk/>
            <pc:sldMk cId="3739907698" sldId="275"/>
            <ac:spMk id="341" creationId="{7E058730-F341-4469-DC08-C8A856798F49}"/>
          </ac:spMkLst>
        </pc:spChg>
        <pc:spChg chg="mod">
          <ac:chgData name="Darius Kuddo" userId="da7555aa-d650-4d73-b00b-d01e713f1329" providerId="ADAL" clId="{9A4B509C-EEE7-485A-994E-5919214B754D}" dt="2025-02-20T01:51:49.529" v="2201"/>
          <ac:spMkLst>
            <pc:docMk/>
            <pc:sldMk cId="3739907698" sldId="275"/>
            <ac:spMk id="342" creationId="{DED3B55B-1B96-C164-0F60-EA5735931745}"/>
          </ac:spMkLst>
        </pc:spChg>
        <pc:spChg chg="mod">
          <ac:chgData name="Darius Kuddo" userId="da7555aa-d650-4d73-b00b-d01e713f1329" providerId="ADAL" clId="{9A4B509C-EEE7-485A-994E-5919214B754D}" dt="2025-02-20T01:51:49.529" v="2201"/>
          <ac:spMkLst>
            <pc:docMk/>
            <pc:sldMk cId="3739907698" sldId="275"/>
            <ac:spMk id="343" creationId="{95F1E700-C0DB-894C-72E0-9D5D5BF7BEF9}"/>
          </ac:spMkLst>
        </pc:spChg>
        <pc:spChg chg="mod">
          <ac:chgData name="Darius Kuddo" userId="da7555aa-d650-4d73-b00b-d01e713f1329" providerId="ADAL" clId="{9A4B509C-EEE7-485A-994E-5919214B754D}" dt="2025-02-20T01:51:49.529" v="2201"/>
          <ac:spMkLst>
            <pc:docMk/>
            <pc:sldMk cId="3739907698" sldId="275"/>
            <ac:spMk id="344" creationId="{ABC8CDD8-058D-39BF-61A4-57AD565BB346}"/>
          </ac:spMkLst>
        </pc:spChg>
        <pc:spChg chg="mod">
          <ac:chgData name="Darius Kuddo" userId="da7555aa-d650-4d73-b00b-d01e713f1329" providerId="ADAL" clId="{9A4B509C-EEE7-485A-994E-5919214B754D}" dt="2025-02-20T01:51:49.529" v="2201"/>
          <ac:spMkLst>
            <pc:docMk/>
            <pc:sldMk cId="3739907698" sldId="275"/>
            <ac:spMk id="345" creationId="{D4C9FD54-6610-8A97-B2C0-736D203CF1BF}"/>
          </ac:spMkLst>
        </pc:spChg>
        <pc:spChg chg="mod">
          <ac:chgData name="Darius Kuddo" userId="da7555aa-d650-4d73-b00b-d01e713f1329" providerId="ADAL" clId="{9A4B509C-EEE7-485A-994E-5919214B754D}" dt="2025-02-20T01:51:49.529" v="2201"/>
          <ac:spMkLst>
            <pc:docMk/>
            <pc:sldMk cId="3739907698" sldId="275"/>
            <ac:spMk id="346" creationId="{28C4974D-42DD-D1D3-6167-D3B813C6A6CA}"/>
          </ac:spMkLst>
        </pc:spChg>
        <pc:spChg chg="mod">
          <ac:chgData name="Darius Kuddo" userId="da7555aa-d650-4d73-b00b-d01e713f1329" providerId="ADAL" clId="{9A4B509C-EEE7-485A-994E-5919214B754D}" dt="2025-02-20T01:51:49.529" v="2201"/>
          <ac:spMkLst>
            <pc:docMk/>
            <pc:sldMk cId="3739907698" sldId="275"/>
            <ac:spMk id="347" creationId="{E83CB188-704A-60FF-3A8E-46DEED67D2ED}"/>
          </ac:spMkLst>
        </pc:spChg>
        <pc:spChg chg="mod">
          <ac:chgData name="Darius Kuddo" userId="da7555aa-d650-4d73-b00b-d01e713f1329" providerId="ADAL" clId="{9A4B509C-EEE7-485A-994E-5919214B754D}" dt="2025-02-20T01:51:49.529" v="2201"/>
          <ac:spMkLst>
            <pc:docMk/>
            <pc:sldMk cId="3739907698" sldId="275"/>
            <ac:spMk id="348" creationId="{7EFBF501-55EE-B562-BFAA-E8823A370969}"/>
          </ac:spMkLst>
        </pc:spChg>
        <pc:spChg chg="mod">
          <ac:chgData name="Darius Kuddo" userId="da7555aa-d650-4d73-b00b-d01e713f1329" providerId="ADAL" clId="{9A4B509C-EEE7-485A-994E-5919214B754D}" dt="2025-02-20T01:51:49.529" v="2201"/>
          <ac:spMkLst>
            <pc:docMk/>
            <pc:sldMk cId="3739907698" sldId="275"/>
            <ac:spMk id="349" creationId="{982A74D6-9F44-0383-A29C-BFEC66B25DA1}"/>
          </ac:spMkLst>
        </pc:spChg>
        <pc:spChg chg="mod">
          <ac:chgData name="Darius Kuddo" userId="da7555aa-d650-4d73-b00b-d01e713f1329" providerId="ADAL" clId="{9A4B509C-EEE7-485A-994E-5919214B754D}" dt="2025-02-20T01:51:49.529" v="2201"/>
          <ac:spMkLst>
            <pc:docMk/>
            <pc:sldMk cId="3739907698" sldId="275"/>
            <ac:spMk id="350" creationId="{2343CFD5-12AA-5077-B717-EE86C455CEA7}"/>
          </ac:spMkLst>
        </pc:spChg>
        <pc:spChg chg="mod">
          <ac:chgData name="Darius Kuddo" userId="da7555aa-d650-4d73-b00b-d01e713f1329" providerId="ADAL" clId="{9A4B509C-EEE7-485A-994E-5919214B754D}" dt="2025-02-20T01:51:49.529" v="2201"/>
          <ac:spMkLst>
            <pc:docMk/>
            <pc:sldMk cId="3739907698" sldId="275"/>
            <ac:spMk id="351" creationId="{878BE15E-09EB-C6AB-5764-25F21DCF029B}"/>
          </ac:spMkLst>
        </pc:spChg>
        <pc:spChg chg="mod">
          <ac:chgData name="Darius Kuddo" userId="da7555aa-d650-4d73-b00b-d01e713f1329" providerId="ADAL" clId="{9A4B509C-EEE7-485A-994E-5919214B754D}" dt="2025-02-20T01:51:49.529" v="2201"/>
          <ac:spMkLst>
            <pc:docMk/>
            <pc:sldMk cId="3739907698" sldId="275"/>
            <ac:spMk id="352" creationId="{2976832A-C3CF-7439-F112-255DD9397EA7}"/>
          </ac:spMkLst>
        </pc:spChg>
        <pc:spChg chg="mod">
          <ac:chgData name="Darius Kuddo" userId="da7555aa-d650-4d73-b00b-d01e713f1329" providerId="ADAL" clId="{9A4B509C-EEE7-485A-994E-5919214B754D}" dt="2025-02-20T01:51:49.529" v="2201"/>
          <ac:spMkLst>
            <pc:docMk/>
            <pc:sldMk cId="3739907698" sldId="275"/>
            <ac:spMk id="353" creationId="{880B8E8F-A6C6-0A7F-5668-FF165EA29D37}"/>
          </ac:spMkLst>
        </pc:spChg>
        <pc:spChg chg="mod">
          <ac:chgData name="Darius Kuddo" userId="da7555aa-d650-4d73-b00b-d01e713f1329" providerId="ADAL" clId="{9A4B509C-EEE7-485A-994E-5919214B754D}" dt="2025-02-20T01:51:49.529" v="2201"/>
          <ac:spMkLst>
            <pc:docMk/>
            <pc:sldMk cId="3739907698" sldId="275"/>
            <ac:spMk id="354" creationId="{11AA3524-E778-6BD1-4F3F-9EC2D44A0ACE}"/>
          </ac:spMkLst>
        </pc:spChg>
        <pc:spChg chg="mod">
          <ac:chgData name="Darius Kuddo" userId="da7555aa-d650-4d73-b00b-d01e713f1329" providerId="ADAL" clId="{9A4B509C-EEE7-485A-994E-5919214B754D}" dt="2025-02-20T01:51:49.529" v="2201"/>
          <ac:spMkLst>
            <pc:docMk/>
            <pc:sldMk cId="3739907698" sldId="275"/>
            <ac:spMk id="355" creationId="{ACE4029A-C914-3921-E93D-6F6AFEA03CA3}"/>
          </ac:spMkLst>
        </pc:spChg>
        <pc:spChg chg="mod">
          <ac:chgData name="Darius Kuddo" userId="da7555aa-d650-4d73-b00b-d01e713f1329" providerId="ADAL" clId="{9A4B509C-EEE7-485A-994E-5919214B754D}" dt="2025-02-20T01:51:49.529" v="2201"/>
          <ac:spMkLst>
            <pc:docMk/>
            <pc:sldMk cId="3739907698" sldId="275"/>
            <ac:spMk id="356" creationId="{75E00DFC-706E-D873-C24C-D6EC5ED00232}"/>
          </ac:spMkLst>
        </pc:spChg>
        <pc:spChg chg="mod">
          <ac:chgData name="Darius Kuddo" userId="da7555aa-d650-4d73-b00b-d01e713f1329" providerId="ADAL" clId="{9A4B509C-EEE7-485A-994E-5919214B754D}" dt="2025-02-20T01:51:49.529" v="2201"/>
          <ac:spMkLst>
            <pc:docMk/>
            <pc:sldMk cId="3739907698" sldId="275"/>
            <ac:spMk id="357" creationId="{9A674C09-2B9C-6857-4646-51A76E783BAB}"/>
          </ac:spMkLst>
        </pc:spChg>
        <pc:spChg chg="mod">
          <ac:chgData name="Darius Kuddo" userId="da7555aa-d650-4d73-b00b-d01e713f1329" providerId="ADAL" clId="{9A4B509C-EEE7-485A-994E-5919214B754D}" dt="2025-02-20T01:51:49.529" v="2201"/>
          <ac:spMkLst>
            <pc:docMk/>
            <pc:sldMk cId="3739907698" sldId="275"/>
            <ac:spMk id="358" creationId="{0E86AEC2-09DF-DD69-6B79-DEA0AE21FD96}"/>
          </ac:spMkLst>
        </pc:spChg>
        <pc:spChg chg="mod">
          <ac:chgData name="Darius Kuddo" userId="da7555aa-d650-4d73-b00b-d01e713f1329" providerId="ADAL" clId="{9A4B509C-EEE7-485A-994E-5919214B754D}" dt="2025-02-20T01:51:49.529" v="2201"/>
          <ac:spMkLst>
            <pc:docMk/>
            <pc:sldMk cId="3739907698" sldId="275"/>
            <ac:spMk id="359" creationId="{FD363441-CA75-D690-7A82-A95FE6DB717C}"/>
          </ac:spMkLst>
        </pc:spChg>
        <pc:spChg chg="mod">
          <ac:chgData name="Darius Kuddo" userId="da7555aa-d650-4d73-b00b-d01e713f1329" providerId="ADAL" clId="{9A4B509C-EEE7-485A-994E-5919214B754D}" dt="2025-02-20T01:51:49.529" v="2201"/>
          <ac:spMkLst>
            <pc:docMk/>
            <pc:sldMk cId="3739907698" sldId="275"/>
            <ac:spMk id="360" creationId="{9F0B8543-0A79-0F97-3CD3-4D80B9797943}"/>
          </ac:spMkLst>
        </pc:spChg>
        <pc:spChg chg="mod">
          <ac:chgData name="Darius Kuddo" userId="da7555aa-d650-4d73-b00b-d01e713f1329" providerId="ADAL" clId="{9A4B509C-EEE7-485A-994E-5919214B754D}" dt="2025-02-20T01:51:49.529" v="2201"/>
          <ac:spMkLst>
            <pc:docMk/>
            <pc:sldMk cId="3739907698" sldId="275"/>
            <ac:spMk id="361" creationId="{FED1C6C8-2F52-F782-0856-2500618356ED}"/>
          </ac:spMkLst>
        </pc:spChg>
        <pc:spChg chg="del">
          <ac:chgData name="Darius Kuddo" userId="da7555aa-d650-4d73-b00b-d01e713f1329" providerId="ADAL" clId="{9A4B509C-EEE7-485A-994E-5919214B754D}" dt="2025-02-20T01:51:48.244" v="2200" actId="478"/>
          <ac:spMkLst>
            <pc:docMk/>
            <pc:sldMk cId="3739907698" sldId="275"/>
            <ac:spMk id="363" creationId="{09896A75-032F-91FD-A1CD-EBE2F1373794}"/>
          </ac:spMkLst>
        </pc:spChg>
        <pc:spChg chg="del">
          <ac:chgData name="Darius Kuddo" userId="da7555aa-d650-4d73-b00b-d01e713f1329" providerId="ADAL" clId="{9A4B509C-EEE7-485A-994E-5919214B754D}" dt="2025-02-20T01:51:48.244" v="2200" actId="478"/>
          <ac:spMkLst>
            <pc:docMk/>
            <pc:sldMk cId="3739907698" sldId="275"/>
            <ac:spMk id="364" creationId="{BA1BB59C-BC37-84CE-E763-80F36270FBF9}"/>
          </ac:spMkLst>
        </pc:spChg>
        <pc:spChg chg="del">
          <ac:chgData name="Darius Kuddo" userId="da7555aa-d650-4d73-b00b-d01e713f1329" providerId="ADAL" clId="{9A4B509C-EEE7-485A-994E-5919214B754D}" dt="2025-02-20T01:51:48.244" v="2200" actId="478"/>
          <ac:spMkLst>
            <pc:docMk/>
            <pc:sldMk cId="3739907698" sldId="275"/>
            <ac:spMk id="365" creationId="{6D5EE7E3-D05C-2224-D0DA-4542240C5492}"/>
          </ac:spMkLst>
        </pc:spChg>
        <pc:spChg chg="del">
          <ac:chgData name="Darius Kuddo" userId="da7555aa-d650-4d73-b00b-d01e713f1329" providerId="ADAL" clId="{9A4B509C-EEE7-485A-994E-5919214B754D}" dt="2025-02-20T01:51:48.244" v="2200" actId="478"/>
          <ac:spMkLst>
            <pc:docMk/>
            <pc:sldMk cId="3739907698" sldId="275"/>
            <ac:spMk id="366" creationId="{9783A11C-5C35-C606-6B26-27D79B659B06}"/>
          </ac:spMkLst>
        </pc:spChg>
        <pc:spChg chg="mod">
          <ac:chgData name="Darius Kuddo" userId="da7555aa-d650-4d73-b00b-d01e713f1329" providerId="ADAL" clId="{9A4B509C-EEE7-485A-994E-5919214B754D}" dt="2025-02-20T01:51:49.529" v="2201"/>
          <ac:spMkLst>
            <pc:docMk/>
            <pc:sldMk cId="3739907698" sldId="275"/>
            <ac:spMk id="2048" creationId="{79AC2551-DE19-BBF7-862F-31DD3C948F26}"/>
          </ac:spMkLst>
        </pc:spChg>
        <pc:spChg chg="mod">
          <ac:chgData name="Darius Kuddo" userId="da7555aa-d650-4d73-b00b-d01e713f1329" providerId="ADAL" clId="{9A4B509C-EEE7-485A-994E-5919214B754D}" dt="2025-02-20T01:51:49.529" v="2201"/>
          <ac:spMkLst>
            <pc:docMk/>
            <pc:sldMk cId="3739907698" sldId="275"/>
            <ac:spMk id="2049" creationId="{9F8096F0-DDC0-BBEA-2ED2-BC47476A579A}"/>
          </ac:spMkLst>
        </pc:spChg>
        <pc:spChg chg="mod">
          <ac:chgData name="Darius Kuddo" userId="da7555aa-d650-4d73-b00b-d01e713f1329" providerId="ADAL" clId="{9A4B509C-EEE7-485A-994E-5919214B754D}" dt="2025-02-20T01:51:49.529" v="2201"/>
          <ac:spMkLst>
            <pc:docMk/>
            <pc:sldMk cId="3739907698" sldId="275"/>
            <ac:spMk id="2050" creationId="{2244D672-E7E3-7C5C-94BD-9415A253522C}"/>
          </ac:spMkLst>
        </pc:spChg>
        <pc:spChg chg="mod">
          <ac:chgData name="Darius Kuddo" userId="da7555aa-d650-4d73-b00b-d01e713f1329" providerId="ADAL" clId="{9A4B509C-EEE7-485A-994E-5919214B754D}" dt="2025-02-20T01:51:49.529" v="2201"/>
          <ac:spMkLst>
            <pc:docMk/>
            <pc:sldMk cId="3739907698" sldId="275"/>
            <ac:spMk id="2051" creationId="{CEF7A1F5-A44A-837F-A731-DE789F476410}"/>
          </ac:spMkLst>
        </pc:spChg>
        <pc:spChg chg="mod">
          <ac:chgData name="Darius Kuddo" userId="da7555aa-d650-4d73-b00b-d01e713f1329" providerId="ADAL" clId="{9A4B509C-EEE7-485A-994E-5919214B754D}" dt="2025-02-20T01:51:49.529" v="2201"/>
          <ac:spMkLst>
            <pc:docMk/>
            <pc:sldMk cId="3739907698" sldId="275"/>
            <ac:spMk id="2055" creationId="{35E135AC-2A4C-064E-A559-A221AED7504C}"/>
          </ac:spMkLst>
        </pc:spChg>
        <pc:spChg chg="mod">
          <ac:chgData name="Darius Kuddo" userId="da7555aa-d650-4d73-b00b-d01e713f1329" providerId="ADAL" clId="{9A4B509C-EEE7-485A-994E-5919214B754D}" dt="2025-02-20T01:51:49.529" v="2201"/>
          <ac:spMkLst>
            <pc:docMk/>
            <pc:sldMk cId="3739907698" sldId="275"/>
            <ac:spMk id="2056" creationId="{4922CDCC-72EE-EF09-61BC-65C1A1534799}"/>
          </ac:spMkLst>
        </pc:spChg>
        <pc:spChg chg="mod">
          <ac:chgData name="Darius Kuddo" userId="da7555aa-d650-4d73-b00b-d01e713f1329" providerId="ADAL" clId="{9A4B509C-EEE7-485A-994E-5919214B754D}" dt="2025-02-20T01:51:49.529" v="2201"/>
          <ac:spMkLst>
            <pc:docMk/>
            <pc:sldMk cId="3739907698" sldId="275"/>
            <ac:spMk id="2057" creationId="{F3F65C16-2B60-2058-ACA2-DCCACE078934}"/>
          </ac:spMkLst>
        </pc:spChg>
        <pc:spChg chg="mod">
          <ac:chgData name="Darius Kuddo" userId="da7555aa-d650-4d73-b00b-d01e713f1329" providerId="ADAL" clId="{9A4B509C-EEE7-485A-994E-5919214B754D}" dt="2025-02-20T01:51:49.529" v="2201"/>
          <ac:spMkLst>
            <pc:docMk/>
            <pc:sldMk cId="3739907698" sldId="275"/>
            <ac:spMk id="2058" creationId="{0638F499-7410-4787-6F85-29729DF0A081}"/>
          </ac:spMkLst>
        </pc:spChg>
        <pc:spChg chg="mod">
          <ac:chgData name="Darius Kuddo" userId="da7555aa-d650-4d73-b00b-d01e713f1329" providerId="ADAL" clId="{9A4B509C-EEE7-485A-994E-5919214B754D}" dt="2025-02-20T01:51:49.529" v="2201"/>
          <ac:spMkLst>
            <pc:docMk/>
            <pc:sldMk cId="3739907698" sldId="275"/>
            <ac:spMk id="2062" creationId="{D214509A-F1FC-0B49-C39E-75238F8B9850}"/>
          </ac:spMkLst>
        </pc:spChg>
        <pc:spChg chg="mod">
          <ac:chgData name="Darius Kuddo" userId="da7555aa-d650-4d73-b00b-d01e713f1329" providerId="ADAL" clId="{9A4B509C-EEE7-485A-994E-5919214B754D}" dt="2025-02-20T01:51:49.529" v="2201"/>
          <ac:spMkLst>
            <pc:docMk/>
            <pc:sldMk cId="3739907698" sldId="275"/>
            <ac:spMk id="2063" creationId="{0A2211DE-52FD-4315-4142-C7CC801ED2E1}"/>
          </ac:spMkLst>
        </pc:spChg>
        <pc:spChg chg="mod">
          <ac:chgData name="Darius Kuddo" userId="da7555aa-d650-4d73-b00b-d01e713f1329" providerId="ADAL" clId="{9A4B509C-EEE7-485A-994E-5919214B754D}" dt="2025-02-20T01:51:49.529" v="2201"/>
          <ac:spMkLst>
            <pc:docMk/>
            <pc:sldMk cId="3739907698" sldId="275"/>
            <ac:spMk id="2064" creationId="{E1A154F4-99E0-1744-67D6-0B12F761D1CC}"/>
          </ac:spMkLst>
        </pc:spChg>
        <pc:spChg chg="mod">
          <ac:chgData name="Darius Kuddo" userId="da7555aa-d650-4d73-b00b-d01e713f1329" providerId="ADAL" clId="{9A4B509C-EEE7-485A-994E-5919214B754D}" dt="2025-02-20T01:51:49.529" v="2201"/>
          <ac:spMkLst>
            <pc:docMk/>
            <pc:sldMk cId="3739907698" sldId="275"/>
            <ac:spMk id="2065" creationId="{007F6348-F450-E8F5-DDF8-FAAF75EB100E}"/>
          </ac:spMkLst>
        </pc:spChg>
        <pc:spChg chg="mod">
          <ac:chgData name="Darius Kuddo" userId="da7555aa-d650-4d73-b00b-d01e713f1329" providerId="ADAL" clId="{9A4B509C-EEE7-485A-994E-5919214B754D}" dt="2025-02-20T01:51:49.529" v="2201"/>
          <ac:spMkLst>
            <pc:docMk/>
            <pc:sldMk cId="3739907698" sldId="275"/>
            <ac:spMk id="2066" creationId="{49C14E34-601F-8AF7-71CB-374954927640}"/>
          </ac:spMkLst>
        </pc:spChg>
        <pc:spChg chg="mod">
          <ac:chgData name="Darius Kuddo" userId="da7555aa-d650-4d73-b00b-d01e713f1329" providerId="ADAL" clId="{9A4B509C-EEE7-485A-994E-5919214B754D}" dt="2025-02-20T01:51:49.529" v="2201"/>
          <ac:spMkLst>
            <pc:docMk/>
            <pc:sldMk cId="3739907698" sldId="275"/>
            <ac:spMk id="2067" creationId="{6D798515-E86A-7E14-AFBE-F51D48F6E4CC}"/>
          </ac:spMkLst>
        </pc:spChg>
        <pc:spChg chg="mod">
          <ac:chgData name="Darius Kuddo" userId="da7555aa-d650-4d73-b00b-d01e713f1329" providerId="ADAL" clId="{9A4B509C-EEE7-485A-994E-5919214B754D}" dt="2025-02-20T01:51:49.529" v="2201"/>
          <ac:spMkLst>
            <pc:docMk/>
            <pc:sldMk cId="3739907698" sldId="275"/>
            <ac:spMk id="2068" creationId="{1257C8EE-8D45-422D-697C-E28C79A07D45}"/>
          </ac:spMkLst>
        </pc:spChg>
        <pc:spChg chg="mod">
          <ac:chgData name="Darius Kuddo" userId="da7555aa-d650-4d73-b00b-d01e713f1329" providerId="ADAL" clId="{9A4B509C-EEE7-485A-994E-5919214B754D}" dt="2025-02-20T01:51:49.529" v="2201"/>
          <ac:spMkLst>
            <pc:docMk/>
            <pc:sldMk cId="3739907698" sldId="275"/>
            <ac:spMk id="2069" creationId="{13C6925E-C7C7-2798-3A3D-76CCA7A1159B}"/>
          </ac:spMkLst>
        </pc:spChg>
        <pc:spChg chg="mod">
          <ac:chgData name="Darius Kuddo" userId="da7555aa-d650-4d73-b00b-d01e713f1329" providerId="ADAL" clId="{9A4B509C-EEE7-485A-994E-5919214B754D}" dt="2025-02-20T01:51:49.529" v="2201"/>
          <ac:spMkLst>
            <pc:docMk/>
            <pc:sldMk cId="3739907698" sldId="275"/>
            <ac:spMk id="2070" creationId="{DE665036-F770-EA39-FE6A-2C08660C9B62}"/>
          </ac:spMkLst>
        </pc:spChg>
        <pc:spChg chg="del">
          <ac:chgData name="Darius Kuddo" userId="da7555aa-d650-4d73-b00b-d01e713f1329" providerId="ADAL" clId="{9A4B509C-EEE7-485A-994E-5919214B754D}" dt="2025-02-20T01:51:48.244" v="2200" actId="478"/>
          <ac:spMkLst>
            <pc:docMk/>
            <pc:sldMk cId="3739907698" sldId="275"/>
            <ac:spMk id="2071" creationId="{4BEBFE94-FDA9-2838-986A-72F8DA82A584}"/>
          </ac:spMkLst>
        </pc:spChg>
        <pc:spChg chg="del">
          <ac:chgData name="Darius Kuddo" userId="da7555aa-d650-4d73-b00b-d01e713f1329" providerId="ADAL" clId="{9A4B509C-EEE7-485A-994E-5919214B754D}" dt="2025-02-20T01:51:48.244" v="2200" actId="478"/>
          <ac:spMkLst>
            <pc:docMk/>
            <pc:sldMk cId="3739907698" sldId="275"/>
            <ac:spMk id="2072" creationId="{D88D22E7-7C23-7AEE-1300-5C342F120754}"/>
          </ac:spMkLst>
        </pc:spChg>
        <pc:spChg chg="del">
          <ac:chgData name="Darius Kuddo" userId="da7555aa-d650-4d73-b00b-d01e713f1329" providerId="ADAL" clId="{9A4B509C-EEE7-485A-994E-5919214B754D}" dt="2025-02-20T01:51:48.244" v="2200" actId="478"/>
          <ac:spMkLst>
            <pc:docMk/>
            <pc:sldMk cId="3739907698" sldId="275"/>
            <ac:spMk id="2073" creationId="{A576F7B2-32F1-D0F8-71FF-197C0367651C}"/>
          </ac:spMkLst>
        </pc:spChg>
        <pc:spChg chg="mod">
          <ac:chgData name="Darius Kuddo" userId="da7555aa-d650-4d73-b00b-d01e713f1329" providerId="ADAL" clId="{9A4B509C-EEE7-485A-994E-5919214B754D}" dt="2025-02-20T01:51:49.529" v="2201"/>
          <ac:spMkLst>
            <pc:docMk/>
            <pc:sldMk cId="3739907698" sldId="275"/>
            <ac:spMk id="2074" creationId="{32F75C32-65ED-DED6-0E3C-6F77A625FCCF}"/>
          </ac:spMkLst>
        </pc:spChg>
        <pc:spChg chg="mod">
          <ac:chgData name="Darius Kuddo" userId="da7555aa-d650-4d73-b00b-d01e713f1329" providerId="ADAL" clId="{9A4B509C-EEE7-485A-994E-5919214B754D}" dt="2025-02-20T01:51:49.529" v="2201"/>
          <ac:spMkLst>
            <pc:docMk/>
            <pc:sldMk cId="3739907698" sldId="275"/>
            <ac:spMk id="2075" creationId="{8164F9BE-0A1A-5328-34AB-5222F45D4B9E}"/>
          </ac:spMkLst>
        </pc:spChg>
        <pc:spChg chg="del">
          <ac:chgData name="Darius Kuddo" userId="da7555aa-d650-4d73-b00b-d01e713f1329" providerId="ADAL" clId="{9A4B509C-EEE7-485A-994E-5919214B754D}" dt="2025-02-20T01:51:48.244" v="2200" actId="478"/>
          <ac:spMkLst>
            <pc:docMk/>
            <pc:sldMk cId="3739907698" sldId="275"/>
            <ac:spMk id="2076" creationId="{5E7364ED-9427-E626-BEFB-AC18AA3BA467}"/>
          </ac:spMkLst>
        </pc:spChg>
        <pc:spChg chg="mod">
          <ac:chgData name="Darius Kuddo" userId="da7555aa-d650-4d73-b00b-d01e713f1329" providerId="ADAL" clId="{9A4B509C-EEE7-485A-994E-5919214B754D}" dt="2025-02-20T01:51:49.529" v="2201"/>
          <ac:spMkLst>
            <pc:docMk/>
            <pc:sldMk cId="3739907698" sldId="275"/>
            <ac:spMk id="2077" creationId="{9DAC9761-6CBB-90F6-2B9E-E3A3F9365D40}"/>
          </ac:spMkLst>
        </pc:spChg>
        <pc:spChg chg="mod">
          <ac:chgData name="Darius Kuddo" userId="da7555aa-d650-4d73-b00b-d01e713f1329" providerId="ADAL" clId="{9A4B509C-EEE7-485A-994E-5919214B754D}" dt="2025-02-20T01:51:49.529" v="2201"/>
          <ac:spMkLst>
            <pc:docMk/>
            <pc:sldMk cId="3739907698" sldId="275"/>
            <ac:spMk id="2078" creationId="{002C78EE-4513-0DBE-70AF-F0C19299AD72}"/>
          </ac:spMkLst>
        </pc:spChg>
        <pc:spChg chg="mod">
          <ac:chgData name="Darius Kuddo" userId="da7555aa-d650-4d73-b00b-d01e713f1329" providerId="ADAL" clId="{9A4B509C-EEE7-485A-994E-5919214B754D}" dt="2025-02-20T01:51:49.529" v="2201"/>
          <ac:spMkLst>
            <pc:docMk/>
            <pc:sldMk cId="3739907698" sldId="275"/>
            <ac:spMk id="2079" creationId="{0B37EC9F-4668-A59B-3542-444287C10D71}"/>
          </ac:spMkLst>
        </pc:spChg>
        <pc:spChg chg="mod">
          <ac:chgData name="Darius Kuddo" userId="da7555aa-d650-4d73-b00b-d01e713f1329" providerId="ADAL" clId="{9A4B509C-EEE7-485A-994E-5919214B754D}" dt="2025-02-20T01:51:49.529" v="2201"/>
          <ac:spMkLst>
            <pc:docMk/>
            <pc:sldMk cId="3739907698" sldId="275"/>
            <ac:spMk id="2080" creationId="{1D30046D-77ED-6ABE-C3ED-985BEB70FD87}"/>
          </ac:spMkLst>
        </pc:spChg>
        <pc:spChg chg="mod">
          <ac:chgData name="Darius Kuddo" userId="da7555aa-d650-4d73-b00b-d01e713f1329" providerId="ADAL" clId="{9A4B509C-EEE7-485A-994E-5919214B754D}" dt="2025-02-20T01:51:49.529" v="2201"/>
          <ac:spMkLst>
            <pc:docMk/>
            <pc:sldMk cId="3739907698" sldId="275"/>
            <ac:spMk id="2081" creationId="{79A8203B-F771-00D3-1228-FB0D342881FA}"/>
          </ac:spMkLst>
        </pc:spChg>
        <pc:spChg chg="del">
          <ac:chgData name="Darius Kuddo" userId="da7555aa-d650-4d73-b00b-d01e713f1329" providerId="ADAL" clId="{9A4B509C-EEE7-485A-994E-5919214B754D}" dt="2025-02-20T01:51:48.244" v="2200" actId="478"/>
          <ac:spMkLst>
            <pc:docMk/>
            <pc:sldMk cId="3739907698" sldId="275"/>
            <ac:spMk id="2082" creationId="{350E934A-F4AD-D142-9203-87F618CDCC6D}"/>
          </ac:spMkLst>
        </pc:spChg>
        <pc:spChg chg="mod">
          <ac:chgData name="Darius Kuddo" userId="da7555aa-d650-4d73-b00b-d01e713f1329" providerId="ADAL" clId="{9A4B509C-EEE7-485A-994E-5919214B754D}" dt="2025-02-20T01:51:49.529" v="2201"/>
          <ac:spMkLst>
            <pc:docMk/>
            <pc:sldMk cId="3739907698" sldId="275"/>
            <ac:spMk id="2083" creationId="{80F1B8F2-2B61-FB26-0C7A-0DDC0323595A}"/>
          </ac:spMkLst>
        </pc:spChg>
        <pc:spChg chg="mod">
          <ac:chgData name="Darius Kuddo" userId="da7555aa-d650-4d73-b00b-d01e713f1329" providerId="ADAL" clId="{9A4B509C-EEE7-485A-994E-5919214B754D}" dt="2025-02-20T01:51:49.529" v="2201"/>
          <ac:spMkLst>
            <pc:docMk/>
            <pc:sldMk cId="3739907698" sldId="275"/>
            <ac:spMk id="2084" creationId="{7FC4E6DF-FC50-430B-D533-B5A270ACCE48}"/>
          </ac:spMkLst>
        </pc:spChg>
        <pc:spChg chg="mod">
          <ac:chgData name="Darius Kuddo" userId="da7555aa-d650-4d73-b00b-d01e713f1329" providerId="ADAL" clId="{9A4B509C-EEE7-485A-994E-5919214B754D}" dt="2025-02-20T01:51:49.529" v="2201"/>
          <ac:spMkLst>
            <pc:docMk/>
            <pc:sldMk cId="3739907698" sldId="275"/>
            <ac:spMk id="2085" creationId="{58A3E1AA-856F-9B19-4168-39C251381342}"/>
          </ac:spMkLst>
        </pc:spChg>
        <pc:spChg chg="mod">
          <ac:chgData name="Darius Kuddo" userId="da7555aa-d650-4d73-b00b-d01e713f1329" providerId="ADAL" clId="{9A4B509C-EEE7-485A-994E-5919214B754D}" dt="2025-02-20T01:51:49.529" v="2201"/>
          <ac:spMkLst>
            <pc:docMk/>
            <pc:sldMk cId="3739907698" sldId="275"/>
            <ac:spMk id="2086" creationId="{DDD45A53-4D8E-0C53-E29A-0696845BFD1E}"/>
          </ac:spMkLst>
        </pc:spChg>
        <pc:spChg chg="mod">
          <ac:chgData name="Darius Kuddo" userId="da7555aa-d650-4d73-b00b-d01e713f1329" providerId="ADAL" clId="{9A4B509C-EEE7-485A-994E-5919214B754D}" dt="2025-02-20T01:51:49.529" v="2201"/>
          <ac:spMkLst>
            <pc:docMk/>
            <pc:sldMk cId="3739907698" sldId="275"/>
            <ac:spMk id="2087" creationId="{092E2176-1044-B879-388E-5046A280EF2F}"/>
          </ac:spMkLst>
        </pc:spChg>
        <pc:spChg chg="mod">
          <ac:chgData name="Darius Kuddo" userId="da7555aa-d650-4d73-b00b-d01e713f1329" providerId="ADAL" clId="{9A4B509C-EEE7-485A-994E-5919214B754D}" dt="2025-02-20T01:51:49.529" v="2201"/>
          <ac:spMkLst>
            <pc:docMk/>
            <pc:sldMk cId="3739907698" sldId="275"/>
            <ac:spMk id="2089" creationId="{CBBEAE48-39E3-25ED-9825-5FB172BA2B4A}"/>
          </ac:spMkLst>
        </pc:spChg>
        <pc:spChg chg="mod">
          <ac:chgData name="Darius Kuddo" userId="da7555aa-d650-4d73-b00b-d01e713f1329" providerId="ADAL" clId="{9A4B509C-EEE7-485A-994E-5919214B754D}" dt="2025-02-20T01:51:49.529" v="2201"/>
          <ac:spMkLst>
            <pc:docMk/>
            <pc:sldMk cId="3739907698" sldId="275"/>
            <ac:spMk id="2090" creationId="{6421BF01-599A-8BC0-8FCA-1E514F37C32F}"/>
          </ac:spMkLst>
        </pc:spChg>
        <pc:spChg chg="mod">
          <ac:chgData name="Darius Kuddo" userId="da7555aa-d650-4d73-b00b-d01e713f1329" providerId="ADAL" clId="{9A4B509C-EEE7-485A-994E-5919214B754D}" dt="2025-02-20T01:51:49.529" v="2201"/>
          <ac:spMkLst>
            <pc:docMk/>
            <pc:sldMk cId="3739907698" sldId="275"/>
            <ac:spMk id="2091" creationId="{99D53292-CD7F-FEF9-12AB-38046F8908A4}"/>
          </ac:spMkLst>
        </pc:spChg>
        <pc:spChg chg="mod">
          <ac:chgData name="Darius Kuddo" userId="da7555aa-d650-4d73-b00b-d01e713f1329" providerId="ADAL" clId="{9A4B509C-EEE7-485A-994E-5919214B754D}" dt="2025-02-20T01:51:49.529" v="2201"/>
          <ac:spMkLst>
            <pc:docMk/>
            <pc:sldMk cId="3739907698" sldId="275"/>
            <ac:spMk id="2092" creationId="{7CF042C9-024C-6D2E-6280-BA92F37FF96A}"/>
          </ac:spMkLst>
        </pc:spChg>
        <pc:spChg chg="mod">
          <ac:chgData name="Darius Kuddo" userId="da7555aa-d650-4d73-b00b-d01e713f1329" providerId="ADAL" clId="{9A4B509C-EEE7-485A-994E-5919214B754D}" dt="2025-02-20T01:51:49.529" v="2201"/>
          <ac:spMkLst>
            <pc:docMk/>
            <pc:sldMk cId="3739907698" sldId="275"/>
            <ac:spMk id="2093" creationId="{5DDAA45D-6216-1EEC-A755-D8E4886C25C9}"/>
          </ac:spMkLst>
        </pc:spChg>
        <pc:spChg chg="mod">
          <ac:chgData name="Darius Kuddo" userId="da7555aa-d650-4d73-b00b-d01e713f1329" providerId="ADAL" clId="{9A4B509C-EEE7-485A-994E-5919214B754D}" dt="2025-02-20T01:51:49.529" v="2201"/>
          <ac:spMkLst>
            <pc:docMk/>
            <pc:sldMk cId="3739907698" sldId="275"/>
            <ac:spMk id="2094" creationId="{B08ADDC8-FA93-D934-7DB6-82504B7DAFF5}"/>
          </ac:spMkLst>
        </pc:spChg>
        <pc:spChg chg="mod">
          <ac:chgData name="Darius Kuddo" userId="da7555aa-d650-4d73-b00b-d01e713f1329" providerId="ADAL" clId="{9A4B509C-EEE7-485A-994E-5919214B754D}" dt="2025-02-20T01:51:49.529" v="2201"/>
          <ac:spMkLst>
            <pc:docMk/>
            <pc:sldMk cId="3739907698" sldId="275"/>
            <ac:spMk id="2095" creationId="{6CB36446-773D-0DF8-1BC7-8953F29E2823}"/>
          </ac:spMkLst>
        </pc:spChg>
        <pc:spChg chg="mod">
          <ac:chgData name="Darius Kuddo" userId="da7555aa-d650-4d73-b00b-d01e713f1329" providerId="ADAL" clId="{9A4B509C-EEE7-485A-994E-5919214B754D}" dt="2025-02-20T01:51:49.529" v="2201"/>
          <ac:spMkLst>
            <pc:docMk/>
            <pc:sldMk cId="3739907698" sldId="275"/>
            <ac:spMk id="2096" creationId="{CF45F55F-FE43-C31F-A935-43D8B48B0463}"/>
          </ac:spMkLst>
        </pc:spChg>
        <pc:spChg chg="del">
          <ac:chgData name="Darius Kuddo" userId="da7555aa-d650-4d73-b00b-d01e713f1329" providerId="ADAL" clId="{9A4B509C-EEE7-485A-994E-5919214B754D}" dt="2025-02-20T01:51:48.244" v="2200" actId="478"/>
          <ac:spMkLst>
            <pc:docMk/>
            <pc:sldMk cId="3739907698" sldId="275"/>
            <ac:spMk id="2097" creationId="{221AAC25-8C72-A943-D736-648720B77130}"/>
          </ac:spMkLst>
        </pc:spChg>
        <pc:spChg chg="del">
          <ac:chgData name="Darius Kuddo" userId="da7555aa-d650-4d73-b00b-d01e713f1329" providerId="ADAL" clId="{9A4B509C-EEE7-485A-994E-5919214B754D}" dt="2025-02-20T01:51:48.244" v="2200" actId="478"/>
          <ac:spMkLst>
            <pc:docMk/>
            <pc:sldMk cId="3739907698" sldId="275"/>
            <ac:spMk id="2098" creationId="{961F1471-E6BB-8CBB-1262-7D7A882B8724}"/>
          </ac:spMkLst>
        </pc:spChg>
        <pc:spChg chg="mod">
          <ac:chgData name="Darius Kuddo" userId="da7555aa-d650-4d73-b00b-d01e713f1329" providerId="ADAL" clId="{9A4B509C-EEE7-485A-994E-5919214B754D}" dt="2025-02-20T01:51:49.529" v="2201"/>
          <ac:spMkLst>
            <pc:docMk/>
            <pc:sldMk cId="3739907698" sldId="275"/>
            <ac:spMk id="2099" creationId="{AADD51AC-3919-335D-8248-5351369989BA}"/>
          </ac:spMkLst>
        </pc:spChg>
        <pc:spChg chg="mod">
          <ac:chgData name="Darius Kuddo" userId="da7555aa-d650-4d73-b00b-d01e713f1329" providerId="ADAL" clId="{9A4B509C-EEE7-485A-994E-5919214B754D}" dt="2025-02-20T01:51:49.529" v="2201"/>
          <ac:spMkLst>
            <pc:docMk/>
            <pc:sldMk cId="3739907698" sldId="275"/>
            <ac:spMk id="2100" creationId="{09B430CE-0AAE-6148-1860-208D699DF2BA}"/>
          </ac:spMkLst>
        </pc:spChg>
        <pc:spChg chg="mod">
          <ac:chgData name="Darius Kuddo" userId="da7555aa-d650-4d73-b00b-d01e713f1329" providerId="ADAL" clId="{9A4B509C-EEE7-485A-994E-5919214B754D}" dt="2025-02-20T01:51:49.529" v="2201"/>
          <ac:spMkLst>
            <pc:docMk/>
            <pc:sldMk cId="3739907698" sldId="275"/>
            <ac:spMk id="2101" creationId="{76F25B38-36DA-DEFD-A86B-1772AB62ADAC}"/>
          </ac:spMkLst>
        </pc:spChg>
        <pc:spChg chg="mod">
          <ac:chgData name="Darius Kuddo" userId="da7555aa-d650-4d73-b00b-d01e713f1329" providerId="ADAL" clId="{9A4B509C-EEE7-485A-994E-5919214B754D}" dt="2025-02-20T01:51:49.529" v="2201"/>
          <ac:spMkLst>
            <pc:docMk/>
            <pc:sldMk cId="3739907698" sldId="275"/>
            <ac:spMk id="2102" creationId="{E6C54334-4C35-2929-1ED6-E9354E3F6AF8}"/>
          </ac:spMkLst>
        </pc:spChg>
        <pc:spChg chg="mod">
          <ac:chgData name="Darius Kuddo" userId="da7555aa-d650-4d73-b00b-d01e713f1329" providerId="ADAL" clId="{9A4B509C-EEE7-485A-994E-5919214B754D}" dt="2025-02-20T01:51:49.529" v="2201"/>
          <ac:spMkLst>
            <pc:docMk/>
            <pc:sldMk cId="3739907698" sldId="275"/>
            <ac:spMk id="2103" creationId="{38FC3F6D-FF05-D714-DFAD-1513E9CBB025}"/>
          </ac:spMkLst>
        </pc:spChg>
        <pc:spChg chg="mod">
          <ac:chgData name="Darius Kuddo" userId="da7555aa-d650-4d73-b00b-d01e713f1329" providerId="ADAL" clId="{9A4B509C-EEE7-485A-994E-5919214B754D}" dt="2025-02-20T01:51:49.529" v="2201"/>
          <ac:spMkLst>
            <pc:docMk/>
            <pc:sldMk cId="3739907698" sldId="275"/>
            <ac:spMk id="2104" creationId="{DB0D8BF6-7B43-2F8F-7894-BF9FA0A043B3}"/>
          </ac:spMkLst>
        </pc:spChg>
        <pc:spChg chg="del">
          <ac:chgData name="Darius Kuddo" userId="da7555aa-d650-4d73-b00b-d01e713f1329" providerId="ADAL" clId="{9A4B509C-EEE7-485A-994E-5919214B754D}" dt="2025-02-20T01:51:48.244" v="2200" actId="478"/>
          <ac:spMkLst>
            <pc:docMk/>
            <pc:sldMk cId="3739907698" sldId="275"/>
            <ac:spMk id="2105" creationId="{E409C66F-5AAE-45C8-0468-2FAB622B6492}"/>
          </ac:spMkLst>
        </pc:spChg>
        <pc:spChg chg="mod">
          <ac:chgData name="Darius Kuddo" userId="da7555aa-d650-4d73-b00b-d01e713f1329" providerId="ADAL" clId="{9A4B509C-EEE7-485A-994E-5919214B754D}" dt="2025-02-20T01:51:49.529" v="2201"/>
          <ac:spMkLst>
            <pc:docMk/>
            <pc:sldMk cId="3739907698" sldId="275"/>
            <ac:spMk id="2106" creationId="{C7D9FE3C-18B4-8805-5328-72950E0F620E}"/>
          </ac:spMkLst>
        </pc:spChg>
        <pc:spChg chg="mod">
          <ac:chgData name="Darius Kuddo" userId="da7555aa-d650-4d73-b00b-d01e713f1329" providerId="ADAL" clId="{9A4B509C-EEE7-485A-994E-5919214B754D}" dt="2025-02-20T01:51:49.529" v="2201"/>
          <ac:spMkLst>
            <pc:docMk/>
            <pc:sldMk cId="3739907698" sldId="275"/>
            <ac:spMk id="2107" creationId="{7338092E-FE42-5DD0-F21F-DA1F383DFFC2}"/>
          </ac:spMkLst>
        </pc:spChg>
        <pc:spChg chg="mod">
          <ac:chgData name="Darius Kuddo" userId="da7555aa-d650-4d73-b00b-d01e713f1329" providerId="ADAL" clId="{9A4B509C-EEE7-485A-994E-5919214B754D}" dt="2025-02-20T01:51:49.529" v="2201"/>
          <ac:spMkLst>
            <pc:docMk/>
            <pc:sldMk cId="3739907698" sldId="275"/>
            <ac:spMk id="2108" creationId="{B1A7AA81-D81D-924F-BA84-58590161B71B}"/>
          </ac:spMkLst>
        </pc:spChg>
        <pc:spChg chg="mod">
          <ac:chgData name="Darius Kuddo" userId="da7555aa-d650-4d73-b00b-d01e713f1329" providerId="ADAL" clId="{9A4B509C-EEE7-485A-994E-5919214B754D}" dt="2025-02-20T01:51:49.529" v="2201"/>
          <ac:spMkLst>
            <pc:docMk/>
            <pc:sldMk cId="3739907698" sldId="275"/>
            <ac:spMk id="2109" creationId="{3EDD4F81-7998-AEFC-8B5A-51A67078EF11}"/>
          </ac:spMkLst>
        </pc:spChg>
        <pc:spChg chg="mod">
          <ac:chgData name="Darius Kuddo" userId="da7555aa-d650-4d73-b00b-d01e713f1329" providerId="ADAL" clId="{9A4B509C-EEE7-485A-994E-5919214B754D}" dt="2025-02-20T01:51:49.529" v="2201"/>
          <ac:spMkLst>
            <pc:docMk/>
            <pc:sldMk cId="3739907698" sldId="275"/>
            <ac:spMk id="2110" creationId="{2F360F2B-0527-7107-D533-942E2767D97C}"/>
          </ac:spMkLst>
        </pc:spChg>
        <pc:spChg chg="mod">
          <ac:chgData name="Darius Kuddo" userId="da7555aa-d650-4d73-b00b-d01e713f1329" providerId="ADAL" clId="{9A4B509C-EEE7-485A-994E-5919214B754D}" dt="2025-02-20T01:51:49.529" v="2201"/>
          <ac:spMkLst>
            <pc:docMk/>
            <pc:sldMk cId="3739907698" sldId="275"/>
            <ac:spMk id="2111" creationId="{808058A7-9E44-9382-662F-3871E90D3DB2}"/>
          </ac:spMkLst>
        </pc:spChg>
        <pc:spChg chg="del">
          <ac:chgData name="Darius Kuddo" userId="da7555aa-d650-4d73-b00b-d01e713f1329" providerId="ADAL" clId="{9A4B509C-EEE7-485A-994E-5919214B754D}" dt="2025-02-20T01:51:48.244" v="2200" actId="478"/>
          <ac:spMkLst>
            <pc:docMk/>
            <pc:sldMk cId="3739907698" sldId="275"/>
            <ac:spMk id="2143" creationId="{8DFE1EC3-858F-C149-8A11-862A428F532C}"/>
          </ac:spMkLst>
        </pc:spChg>
        <pc:spChg chg="del">
          <ac:chgData name="Darius Kuddo" userId="da7555aa-d650-4d73-b00b-d01e713f1329" providerId="ADAL" clId="{9A4B509C-EEE7-485A-994E-5919214B754D}" dt="2025-02-20T01:51:48.244" v="2200" actId="478"/>
          <ac:spMkLst>
            <pc:docMk/>
            <pc:sldMk cId="3739907698" sldId="275"/>
            <ac:spMk id="2149" creationId="{B7A44609-5218-39D9-E328-26B3A1F7F049}"/>
          </ac:spMkLst>
        </pc:spChg>
        <pc:spChg chg="del">
          <ac:chgData name="Darius Kuddo" userId="da7555aa-d650-4d73-b00b-d01e713f1329" providerId="ADAL" clId="{9A4B509C-EEE7-485A-994E-5919214B754D}" dt="2025-02-20T01:51:48.244" v="2200" actId="478"/>
          <ac:spMkLst>
            <pc:docMk/>
            <pc:sldMk cId="3739907698" sldId="275"/>
            <ac:spMk id="2189" creationId="{ECA62943-B434-A098-024E-1A97D908F748}"/>
          </ac:spMkLst>
        </pc:spChg>
        <pc:spChg chg="del">
          <ac:chgData name="Darius Kuddo" userId="da7555aa-d650-4d73-b00b-d01e713f1329" providerId="ADAL" clId="{9A4B509C-EEE7-485A-994E-5919214B754D}" dt="2025-02-20T01:51:48.244" v="2200" actId="478"/>
          <ac:spMkLst>
            <pc:docMk/>
            <pc:sldMk cId="3739907698" sldId="275"/>
            <ac:spMk id="2195" creationId="{94A34DA0-545A-93F4-3B1B-9B482BD40220}"/>
          </ac:spMkLst>
        </pc:spChg>
        <pc:spChg chg="del">
          <ac:chgData name="Darius Kuddo" userId="da7555aa-d650-4d73-b00b-d01e713f1329" providerId="ADAL" clId="{9A4B509C-EEE7-485A-994E-5919214B754D}" dt="2025-02-20T01:51:48.244" v="2200" actId="478"/>
          <ac:spMkLst>
            <pc:docMk/>
            <pc:sldMk cId="3739907698" sldId="275"/>
            <ac:spMk id="2197" creationId="{EDBD1377-1643-D027-C3EC-3C09C1DAD07D}"/>
          </ac:spMkLst>
        </pc:spChg>
        <pc:spChg chg="del">
          <ac:chgData name="Darius Kuddo" userId="da7555aa-d650-4d73-b00b-d01e713f1329" providerId="ADAL" clId="{9A4B509C-EEE7-485A-994E-5919214B754D}" dt="2025-02-20T01:51:48.244" v="2200" actId="478"/>
          <ac:spMkLst>
            <pc:docMk/>
            <pc:sldMk cId="3739907698" sldId="275"/>
            <ac:spMk id="2198" creationId="{563B85DC-5F01-D712-4395-7767882EDC7E}"/>
          </ac:spMkLst>
        </pc:spChg>
        <pc:spChg chg="del">
          <ac:chgData name="Darius Kuddo" userId="da7555aa-d650-4d73-b00b-d01e713f1329" providerId="ADAL" clId="{9A4B509C-EEE7-485A-994E-5919214B754D}" dt="2025-02-20T01:51:48.244" v="2200" actId="478"/>
          <ac:spMkLst>
            <pc:docMk/>
            <pc:sldMk cId="3739907698" sldId="275"/>
            <ac:spMk id="2212" creationId="{7CD00194-3F55-928E-5E3A-88729A82F6D2}"/>
          </ac:spMkLst>
        </pc:spChg>
        <pc:spChg chg="del">
          <ac:chgData name="Darius Kuddo" userId="da7555aa-d650-4d73-b00b-d01e713f1329" providerId="ADAL" clId="{9A4B509C-EEE7-485A-994E-5919214B754D}" dt="2025-02-20T01:51:48.244" v="2200" actId="478"/>
          <ac:spMkLst>
            <pc:docMk/>
            <pc:sldMk cId="3739907698" sldId="275"/>
            <ac:spMk id="2218" creationId="{2AD0FE77-5463-9977-915C-77A169314D14}"/>
          </ac:spMkLst>
        </pc:spChg>
        <pc:spChg chg="del">
          <ac:chgData name="Darius Kuddo" userId="da7555aa-d650-4d73-b00b-d01e713f1329" providerId="ADAL" clId="{9A4B509C-EEE7-485A-994E-5919214B754D}" dt="2025-02-20T01:51:48.244" v="2200" actId="478"/>
          <ac:spMkLst>
            <pc:docMk/>
            <pc:sldMk cId="3739907698" sldId="275"/>
            <ac:spMk id="2235" creationId="{1B892CAF-88F7-BAA2-6B96-CC977DCDDC51}"/>
          </ac:spMkLst>
        </pc:spChg>
        <pc:spChg chg="del">
          <ac:chgData name="Darius Kuddo" userId="da7555aa-d650-4d73-b00b-d01e713f1329" providerId="ADAL" clId="{9A4B509C-EEE7-485A-994E-5919214B754D}" dt="2025-02-20T01:51:48.244" v="2200" actId="478"/>
          <ac:spMkLst>
            <pc:docMk/>
            <pc:sldMk cId="3739907698" sldId="275"/>
            <ac:spMk id="2241" creationId="{F4E6A6AD-E743-C66B-FBD1-810F7F3D084C}"/>
          </ac:spMkLst>
        </pc:spChg>
        <pc:spChg chg="mod">
          <ac:chgData name="Darius Kuddo" userId="da7555aa-d650-4d73-b00b-d01e713f1329" providerId="ADAL" clId="{9A4B509C-EEE7-485A-994E-5919214B754D}" dt="2025-02-20T01:51:45.199" v="2199"/>
          <ac:spMkLst>
            <pc:docMk/>
            <pc:sldMk cId="3739907698" sldId="275"/>
            <ac:spMk id="2243" creationId="{B732CB8A-EE42-620C-FA76-F883E995B123}"/>
          </ac:spMkLst>
        </pc:spChg>
        <pc:spChg chg="mod">
          <ac:chgData name="Darius Kuddo" userId="da7555aa-d650-4d73-b00b-d01e713f1329" providerId="ADAL" clId="{9A4B509C-EEE7-485A-994E-5919214B754D}" dt="2025-02-20T01:51:45.199" v="2199"/>
          <ac:spMkLst>
            <pc:docMk/>
            <pc:sldMk cId="3739907698" sldId="275"/>
            <ac:spMk id="2244" creationId="{2330F304-6723-92ED-3FF7-CCBFE0E29C5A}"/>
          </ac:spMkLst>
        </pc:spChg>
        <pc:spChg chg="mod">
          <ac:chgData name="Darius Kuddo" userId="da7555aa-d650-4d73-b00b-d01e713f1329" providerId="ADAL" clId="{9A4B509C-EEE7-485A-994E-5919214B754D}" dt="2025-02-20T01:51:45.199" v="2199"/>
          <ac:spMkLst>
            <pc:docMk/>
            <pc:sldMk cId="3739907698" sldId="275"/>
            <ac:spMk id="2245" creationId="{722108C2-8D3C-38A0-C3AF-9A8161C9038A}"/>
          </ac:spMkLst>
        </pc:spChg>
        <pc:spChg chg="mod">
          <ac:chgData name="Darius Kuddo" userId="da7555aa-d650-4d73-b00b-d01e713f1329" providerId="ADAL" clId="{9A4B509C-EEE7-485A-994E-5919214B754D}" dt="2025-02-20T01:51:45.199" v="2199"/>
          <ac:spMkLst>
            <pc:docMk/>
            <pc:sldMk cId="3739907698" sldId="275"/>
            <ac:spMk id="2246" creationId="{EDB0D107-D567-4F56-CE7E-186B671FF5DD}"/>
          </ac:spMkLst>
        </pc:spChg>
        <pc:spChg chg="mod">
          <ac:chgData name="Darius Kuddo" userId="da7555aa-d650-4d73-b00b-d01e713f1329" providerId="ADAL" clId="{9A4B509C-EEE7-485A-994E-5919214B754D}" dt="2025-02-20T01:51:45.199" v="2199"/>
          <ac:spMkLst>
            <pc:docMk/>
            <pc:sldMk cId="3739907698" sldId="275"/>
            <ac:spMk id="2247" creationId="{6BAD33D1-FCDD-A8B0-E0D1-74E5B8FB0FBB}"/>
          </ac:spMkLst>
        </pc:spChg>
        <pc:spChg chg="mod">
          <ac:chgData name="Darius Kuddo" userId="da7555aa-d650-4d73-b00b-d01e713f1329" providerId="ADAL" clId="{9A4B509C-EEE7-485A-994E-5919214B754D}" dt="2025-02-20T01:51:45.199" v="2199"/>
          <ac:spMkLst>
            <pc:docMk/>
            <pc:sldMk cId="3739907698" sldId="275"/>
            <ac:spMk id="2249" creationId="{4B2031D3-C6F5-F65F-6AB9-32EABB41B924}"/>
          </ac:spMkLst>
        </pc:spChg>
        <pc:spChg chg="mod">
          <ac:chgData name="Darius Kuddo" userId="da7555aa-d650-4d73-b00b-d01e713f1329" providerId="ADAL" clId="{9A4B509C-EEE7-485A-994E-5919214B754D}" dt="2025-02-20T01:51:45.199" v="2199"/>
          <ac:spMkLst>
            <pc:docMk/>
            <pc:sldMk cId="3739907698" sldId="275"/>
            <ac:spMk id="2250" creationId="{F3C3FE07-E5FB-52E4-B900-5C72D87C8683}"/>
          </ac:spMkLst>
        </pc:spChg>
        <pc:spChg chg="mod">
          <ac:chgData name="Darius Kuddo" userId="da7555aa-d650-4d73-b00b-d01e713f1329" providerId="ADAL" clId="{9A4B509C-EEE7-485A-994E-5919214B754D}" dt="2025-02-20T01:51:45.199" v="2199"/>
          <ac:spMkLst>
            <pc:docMk/>
            <pc:sldMk cId="3739907698" sldId="275"/>
            <ac:spMk id="2251" creationId="{B8F7AECA-4EC4-B40B-EBE3-794BA332B543}"/>
          </ac:spMkLst>
        </pc:spChg>
        <pc:spChg chg="mod">
          <ac:chgData name="Darius Kuddo" userId="da7555aa-d650-4d73-b00b-d01e713f1329" providerId="ADAL" clId="{9A4B509C-EEE7-485A-994E-5919214B754D}" dt="2025-02-20T01:51:45.199" v="2199"/>
          <ac:spMkLst>
            <pc:docMk/>
            <pc:sldMk cId="3739907698" sldId="275"/>
            <ac:spMk id="2252" creationId="{71B598BE-F128-E11D-B498-98BF77E6949A}"/>
          </ac:spMkLst>
        </pc:spChg>
        <pc:spChg chg="mod">
          <ac:chgData name="Darius Kuddo" userId="da7555aa-d650-4d73-b00b-d01e713f1329" providerId="ADAL" clId="{9A4B509C-EEE7-485A-994E-5919214B754D}" dt="2025-02-20T01:51:45.199" v="2199"/>
          <ac:spMkLst>
            <pc:docMk/>
            <pc:sldMk cId="3739907698" sldId="275"/>
            <ac:spMk id="2253" creationId="{754DF62D-335C-B241-5DA3-13BB5A92110C}"/>
          </ac:spMkLst>
        </pc:spChg>
        <pc:spChg chg="mod">
          <ac:chgData name="Darius Kuddo" userId="da7555aa-d650-4d73-b00b-d01e713f1329" providerId="ADAL" clId="{9A4B509C-EEE7-485A-994E-5919214B754D}" dt="2025-02-20T01:51:45.199" v="2199"/>
          <ac:spMkLst>
            <pc:docMk/>
            <pc:sldMk cId="3739907698" sldId="275"/>
            <ac:spMk id="2254" creationId="{EFA6C0E9-B517-A689-E98E-716CFFE65806}"/>
          </ac:spMkLst>
        </pc:spChg>
        <pc:spChg chg="add mod">
          <ac:chgData name="Darius Kuddo" userId="da7555aa-d650-4d73-b00b-d01e713f1329" providerId="ADAL" clId="{9A4B509C-EEE7-485A-994E-5919214B754D}" dt="2025-02-20T01:51:45.199" v="2199"/>
          <ac:spMkLst>
            <pc:docMk/>
            <pc:sldMk cId="3739907698" sldId="275"/>
            <ac:spMk id="2255" creationId="{101A0672-0472-E178-20E1-09F6E3062C22}"/>
          </ac:spMkLst>
        </pc:spChg>
        <pc:spChg chg="add mod">
          <ac:chgData name="Darius Kuddo" userId="da7555aa-d650-4d73-b00b-d01e713f1329" providerId="ADAL" clId="{9A4B509C-EEE7-485A-994E-5919214B754D}" dt="2025-02-20T01:51:45.199" v="2199"/>
          <ac:spMkLst>
            <pc:docMk/>
            <pc:sldMk cId="3739907698" sldId="275"/>
            <ac:spMk id="2256" creationId="{06CE6D15-A8B1-CA39-F0E4-480DB4DBD2BA}"/>
          </ac:spMkLst>
        </pc:spChg>
        <pc:spChg chg="add mod">
          <ac:chgData name="Darius Kuddo" userId="da7555aa-d650-4d73-b00b-d01e713f1329" providerId="ADAL" clId="{9A4B509C-EEE7-485A-994E-5919214B754D}" dt="2025-02-20T01:51:45.199" v="2199"/>
          <ac:spMkLst>
            <pc:docMk/>
            <pc:sldMk cId="3739907698" sldId="275"/>
            <ac:spMk id="2257" creationId="{7969AE57-4263-169C-1A96-646A04EF4A11}"/>
          </ac:spMkLst>
        </pc:spChg>
        <pc:spChg chg="add mod">
          <ac:chgData name="Darius Kuddo" userId="da7555aa-d650-4d73-b00b-d01e713f1329" providerId="ADAL" clId="{9A4B509C-EEE7-485A-994E-5919214B754D}" dt="2025-02-20T01:51:45.199" v="2199"/>
          <ac:spMkLst>
            <pc:docMk/>
            <pc:sldMk cId="3739907698" sldId="275"/>
            <ac:spMk id="2258" creationId="{3D6DB9EA-679B-7D59-3400-1842EA0E1B81}"/>
          </ac:spMkLst>
        </pc:spChg>
        <pc:spChg chg="add mod">
          <ac:chgData name="Darius Kuddo" userId="da7555aa-d650-4d73-b00b-d01e713f1329" providerId="ADAL" clId="{9A4B509C-EEE7-485A-994E-5919214B754D}" dt="2025-02-20T01:51:45.199" v="2199"/>
          <ac:spMkLst>
            <pc:docMk/>
            <pc:sldMk cId="3739907698" sldId="275"/>
            <ac:spMk id="2259" creationId="{677EA583-151D-64F0-7EE7-154DFEFAEDBB}"/>
          </ac:spMkLst>
        </pc:spChg>
        <pc:spChg chg="add mod">
          <ac:chgData name="Darius Kuddo" userId="da7555aa-d650-4d73-b00b-d01e713f1329" providerId="ADAL" clId="{9A4B509C-EEE7-485A-994E-5919214B754D}" dt="2025-02-20T01:51:45.199" v="2199"/>
          <ac:spMkLst>
            <pc:docMk/>
            <pc:sldMk cId="3739907698" sldId="275"/>
            <ac:spMk id="2260" creationId="{7F8427CE-D243-AA56-9D77-DE8D71BE3F62}"/>
          </ac:spMkLst>
        </pc:spChg>
        <pc:spChg chg="add mod">
          <ac:chgData name="Darius Kuddo" userId="da7555aa-d650-4d73-b00b-d01e713f1329" providerId="ADAL" clId="{9A4B509C-EEE7-485A-994E-5919214B754D}" dt="2025-02-20T01:51:45.199" v="2199"/>
          <ac:spMkLst>
            <pc:docMk/>
            <pc:sldMk cId="3739907698" sldId="275"/>
            <ac:spMk id="2262" creationId="{E59FED5B-4B59-787C-DD6A-0BC9694EA5DA}"/>
          </ac:spMkLst>
        </pc:spChg>
        <pc:spChg chg="add mod">
          <ac:chgData name="Darius Kuddo" userId="da7555aa-d650-4d73-b00b-d01e713f1329" providerId="ADAL" clId="{9A4B509C-EEE7-485A-994E-5919214B754D}" dt="2025-02-20T01:51:45.199" v="2199"/>
          <ac:spMkLst>
            <pc:docMk/>
            <pc:sldMk cId="3739907698" sldId="275"/>
            <ac:spMk id="2263" creationId="{735260D3-3AA1-F5BC-F977-E43C70E894C0}"/>
          </ac:spMkLst>
        </pc:spChg>
        <pc:spChg chg="add mod">
          <ac:chgData name="Darius Kuddo" userId="da7555aa-d650-4d73-b00b-d01e713f1329" providerId="ADAL" clId="{9A4B509C-EEE7-485A-994E-5919214B754D}" dt="2025-02-20T01:51:45.199" v="2199"/>
          <ac:spMkLst>
            <pc:docMk/>
            <pc:sldMk cId="3739907698" sldId="275"/>
            <ac:spMk id="2264" creationId="{8801A1DF-4308-CDF4-81FA-2E819117377B}"/>
          </ac:spMkLst>
        </pc:spChg>
        <pc:spChg chg="add mod">
          <ac:chgData name="Darius Kuddo" userId="da7555aa-d650-4d73-b00b-d01e713f1329" providerId="ADAL" clId="{9A4B509C-EEE7-485A-994E-5919214B754D}" dt="2025-02-20T01:51:45.199" v="2199"/>
          <ac:spMkLst>
            <pc:docMk/>
            <pc:sldMk cId="3739907698" sldId="275"/>
            <ac:spMk id="2265" creationId="{D3346834-8B52-D287-F5AD-999C64294708}"/>
          </ac:spMkLst>
        </pc:spChg>
        <pc:spChg chg="del">
          <ac:chgData name="Darius Kuddo" userId="da7555aa-d650-4d73-b00b-d01e713f1329" providerId="ADAL" clId="{9A4B509C-EEE7-485A-994E-5919214B754D}" dt="2025-02-20T01:51:48.244" v="2200" actId="478"/>
          <ac:spMkLst>
            <pc:docMk/>
            <pc:sldMk cId="3739907698" sldId="275"/>
            <ac:spMk id="2266" creationId="{6177A838-A7E9-AA3E-4FB2-849643026731}"/>
          </ac:spMkLst>
        </pc:spChg>
        <pc:spChg chg="del">
          <ac:chgData name="Darius Kuddo" userId="da7555aa-d650-4d73-b00b-d01e713f1329" providerId="ADAL" clId="{9A4B509C-EEE7-485A-994E-5919214B754D}" dt="2025-02-20T01:51:48.244" v="2200" actId="478"/>
          <ac:spMkLst>
            <pc:docMk/>
            <pc:sldMk cId="3739907698" sldId="275"/>
            <ac:spMk id="2267" creationId="{9A809831-7219-4971-7F31-3F417C76A2E7}"/>
          </ac:spMkLst>
        </pc:spChg>
        <pc:spChg chg="add mod">
          <ac:chgData name="Darius Kuddo" userId="da7555aa-d650-4d73-b00b-d01e713f1329" providerId="ADAL" clId="{9A4B509C-EEE7-485A-994E-5919214B754D}" dt="2025-02-20T01:51:45.199" v="2199"/>
          <ac:spMkLst>
            <pc:docMk/>
            <pc:sldMk cId="3739907698" sldId="275"/>
            <ac:spMk id="2268" creationId="{663E1E7B-F73D-4C0D-EF06-313DE14DD179}"/>
          </ac:spMkLst>
        </pc:spChg>
        <pc:spChg chg="add mod">
          <ac:chgData name="Darius Kuddo" userId="da7555aa-d650-4d73-b00b-d01e713f1329" providerId="ADAL" clId="{9A4B509C-EEE7-485A-994E-5919214B754D}" dt="2025-02-20T01:51:45.199" v="2199"/>
          <ac:spMkLst>
            <pc:docMk/>
            <pc:sldMk cId="3739907698" sldId="275"/>
            <ac:spMk id="2269" creationId="{6652B090-F3EE-C8A4-8D5D-EA6613AB70DC}"/>
          </ac:spMkLst>
        </pc:spChg>
        <pc:spChg chg="add mod">
          <ac:chgData name="Darius Kuddo" userId="da7555aa-d650-4d73-b00b-d01e713f1329" providerId="ADAL" clId="{9A4B509C-EEE7-485A-994E-5919214B754D}" dt="2025-02-20T01:51:45.199" v="2199"/>
          <ac:spMkLst>
            <pc:docMk/>
            <pc:sldMk cId="3739907698" sldId="275"/>
            <ac:spMk id="2270" creationId="{5DB9263F-CC28-97B4-0A43-97B9E4BB6412}"/>
          </ac:spMkLst>
        </pc:spChg>
        <pc:spChg chg="add mod">
          <ac:chgData name="Darius Kuddo" userId="da7555aa-d650-4d73-b00b-d01e713f1329" providerId="ADAL" clId="{9A4B509C-EEE7-485A-994E-5919214B754D}" dt="2025-02-20T01:51:45.199" v="2199"/>
          <ac:spMkLst>
            <pc:docMk/>
            <pc:sldMk cId="3739907698" sldId="275"/>
            <ac:spMk id="2271" creationId="{8B14C641-1E53-617C-CEFE-D5CC3A2B2D7C}"/>
          </ac:spMkLst>
        </pc:spChg>
        <pc:spChg chg="add mod">
          <ac:chgData name="Darius Kuddo" userId="da7555aa-d650-4d73-b00b-d01e713f1329" providerId="ADAL" clId="{9A4B509C-EEE7-485A-994E-5919214B754D}" dt="2025-02-20T01:51:45.199" v="2199"/>
          <ac:spMkLst>
            <pc:docMk/>
            <pc:sldMk cId="3739907698" sldId="275"/>
            <ac:spMk id="2272" creationId="{4202EAB5-DF91-CBC2-63F6-3E5B1BF6BC86}"/>
          </ac:spMkLst>
        </pc:spChg>
        <pc:spChg chg="add mod">
          <ac:chgData name="Darius Kuddo" userId="da7555aa-d650-4d73-b00b-d01e713f1329" providerId="ADAL" clId="{9A4B509C-EEE7-485A-994E-5919214B754D}" dt="2025-02-20T01:51:45.199" v="2199"/>
          <ac:spMkLst>
            <pc:docMk/>
            <pc:sldMk cId="3739907698" sldId="275"/>
            <ac:spMk id="2273" creationId="{8557C71A-D0E9-264E-8438-0EC7CD187433}"/>
          </ac:spMkLst>
        </pc:spChg>
        <pc:spChg chg="add mod">
          <ac:chgData name="Darius Kuddo" userId="da7555aa-d650-4d73-b00b-d01e713f1329" providerId="ADAL" clId="{9A4B509C-EEE7-485A-994E-5919214B754D}" dt="2025-02-20T01:51:45.199" v="2199"/>
          <ac:spMkLst>
            <pc:docMk/>
            <pc:sldMk cId="3739907698" sldId="275"/>
            <ac:spMk id="2274" creationId="{F6D354DB-B63D-E849-276B-729D10EAC809}"/>
          </ac:spMkLst>
        </pc:spChg>
        <pc:spChg chg="add mod">
          <ac:chgData name="Darius Kuddo" userId="da7555aa-d650-4d73-b00b-d01e713f1329" providerId="ADAL" clId="{9A4B509C-EEE7-485A-994E-5919214B754D}" dt="2025-02-20T01:51:45.199" v="2199"/>
          <ac:spMkLst>
            <pc:docMk/>
            <pc:sldMk cId="3739907698" sldId="275"/>
            <ac:spMk id="2275" creationId="{84174EF7-2AF7-3CC6-649E-3240D1138D5B}"/>
          </ac:spMkLst>
        </pc:spChg>
        <pc:spChg chg="add mod">
          <ac:chgData name="Darius Kuddo" userId="da7555aa-d650-4d73-b00b-d01e713f1329" providerId="ADAL" clId="{9A4B509C-EEE7-485A-994E-5919214B754D}" dt="2025-02-20T01:51:45.199" v="2199"/>
          <ac:spMkLst>
            <pc:docMk/>
            <pc:sldMk cId="3739907698" sldId="275"/>
            <ac:spMk id="2276" creationId="{F337E359-B547-F92C-D376-D6BF76FE3DBB}"/>
          </ac:spMkLst>
        </pc:spChg>
        <pc:spChg chg="add mod">
          <ac:chgData name="Darius Kuddo" userId="da7555aa-d650-4d73-b00b-d01e713f1329" providerId="ADAL" clId="{9A4B509C-EEE7-485A-994E-5919214B754D}" dt="2025-02-20T01:51:45.199" v="2199"/>
          <ac:spMkLst>
            <pc:docMk/>
            <pc:sldMk cId="3739907698" sldId="275"/>
            <ac:spMk id="2277" creationId="{65EB2A22-3092-EE95-37DA-09AC92B402E0}"/>
          </ac:spMkLst>
        </pc:spChg>
        <pc:spChg chg="add mod">
          <ac:chgData name="Darius Kuddo" userId="da7555aa-d650-4d73-b00b-d01e713f1329" providerId="ADAL" clId="{9A4B509C-EEE7-485A-994E-5919214B754D}" dt="2025-02-20T01:51:45.199" v="2199"/>
          <ac:spMkLst>
            <pc:docMk/>
            <pc:sldMk cId="3739907698" sldId="275"/>
            <ac:spMk id="2278" creationId="{7DE8A982-3BB2-813B-779C-4C2DCBA5605A}"/>
          </ac:spMkLst>
        </pc:spChg>
        <pc:spChg chg="add mod">
          <ac:chgData name="Darius Kuddo" userId="da7555aa-d650-4d73-b00b-d01e713f1329" providerId="ADAL" clId="{9A4B509C-EEE7-485A-994E-5919214B754D}" dt="2025-02-20T01:51:45.199" v="2199"/>
          <ac:spMkLst>
            <pc:docMk/>
            <pc:sldMk cId="3739907698" sldId="275"/>
            <ac:spMk id="2279" creationId="{FB4BCBF2-DE95-8EC6-3069-5C7941089CFA}"/>
          </ac:spMkLst>
        </pc:spChg>
        <pc:spChg chg="add mod">
          <ac:chgData name="Darius Kuddo" userId="da7555aa-d650-4d73-b00b-d01e713f1329" providerId="ADAL" clId="{9A4B509C-EEE7-485A-994E-5919214B754D}" dt="2025-02-20T01:51:45.199" v="2199"/>
          <ac:spMkLst>
            <pc:docMk/>
            <pc:sldMk cId="3739907698" sldId="275"/>
            <ac:spMk id="2280" creationId="{344FC3C2-D6E1-3915-D386-580C957BEEF5}"/>
          </ac:spMkLst>
        </pc:spChg>
        <pc:spChg chg="del">
          <ac:chgData name="Darius Kuddo" userId="da7555aa-d650-4d73-b00b-d01e713f1329" providerId="ADAL" clId="{9A4B509C-EEE7-485A-994E-5919214B754D}" dt="2025-02-20T01:51:48.244" v="2200" actId="478"/>
          <ac:spMkLst>
            <pc:docMk/>
            <pc:sldMk cId="3739907698" sldId="275"/>
            <ac:spMk id="2281" creationId="{86B3C6ED-621E-5229-F0EB-49ED223103D1}"/>
          </ac:spMkLst>
        </pc:spChg>
        <pc:spChg chg="add mod">
          <ac:chgData name="Darius Kuddo" userId="da7555aa-d650-4d73-b00b-d01e713f1329" providerId="ADAL" clId="{9A4B509C-EEE7-485A-994E-5919214B754D}" dt="2025-02-20T01:51:45.199" v="2199"/>
          <ac:spMkLst>
            <pc:docMk/>
            <pc:sldMk cId="3739907698" sldId="275"/>
            <ac:spMk id="2282" creationId="{9ADF8D55-79D5-FF28-C9B9-0CACEED140B0}"/>
          </ac:spMkLst>
        </pc:spChg>
        <pc:spChg chg="add mod">
          <ac:chgData name="Darius Kuddo" userId="da7555aa-d650-4d73-b00b-d01e713f1329" providerId="ADAL" clId="{9A4B509C-EEE7-485A-994E-5919214B754D}" dt="2025-02-20T01:51:45.199" v="2199"/>
          <ac:spMkLst>
            <pc:docMk/>
            <pc:sldMk cId="3739907698" sldId="275"/>
            <ac:spMk id="2283" creationId="{6EFB3E5F-70B4-70A3-4F2E-3EE2C07E884A}"/>
          </ac:spMkLst>
        </pc:spChg>
        <pc:spChg chg="add mod">
          <ac:chgData name="Darius Kuddo" userId="da7555aa-d650-4d73-b00b-d01e713f1329" providerId="ADAL" clId="{9A4B509C-EEE7-485A-994E-5919214B754D}" dt="2025-02-20T01:51:45.199" v="2199"/>
          <ac:spMkLst>
            <pc:docMk/>
            <pc:sldMk cId="3739907698" sldId="275"/>
            <ac:spMk id="2284" creationId="{2D2E1B86-A875-255F-B1C6-AA814EF18784}"/>
          </ac:spMkLst>
        </pc:spChg>
        <pc:spChg chg="add mod">
          <ac:chgData name="Darius Kuddo" userId="da7555aa-d650-4d73-b00b-d01e713f1329" providerId="ADAL" clId="{9A4B509C-EEE7-485A-994E-5919214B754D}" dt="2025-02-20T01:51:45.199" v="2199"/>
          <ac:spMkLst>
            <pc:docMk/>
            <pc:sldMk cId="3739907698" sldId="275"/>
            <ac:spMk id="2285" creationId="{EA488E02-48F9-99AC-6370-37748C05C59B}"/>
          </ac:spMkLst>
        </pc:spChg>
        <pc:spChg chg="add mod">
          <ac:chgData name="Darius Kuddo" userId="da7555aa-d650-4d73-b00b-d01e713f1329" providerId="ADAL" clId="{9A4B509C-EEE7-485A-994E-5919214B754D}" dt="2025-02-20T01:51:45.199" v="2199"/>
          <ac:spMkLst>
            <pc:docMk/>
            <pc:sldMk cId="3739907698" sldId="275"/>
            <ac:spMk id="2286" creationId="{68D62BE1-1E44-4E6F-552E-D7C21319F6AA}"/>
          </ac:spMkLst>
        </pc:spChg>
        <pc:spChg chg="del">
          <ac:chgData name="Darius Kuddo" userId="da7555aa-d650-4d73-b00b-d01e713f1329" providerId="ADAL" clId="{9A4B509C-EEE7-485A-994E-5919214B754D}" dt="2025-02-20T01:51:48.244" v="2200" actId="478"/>
          <ac:spMkLst>
            <pc:docMk/>
            <pc:sldMk cId="3739907698" sldId="275"/>
            <ac:spMk id="2287" creationId="{FAA9F407-8949-99B2-397F-04A9B5176D0E}"/>
          </ac:spMkLst>
        </pc:spChg>
        <pc:spChg chg="add mod">
          <ac:chgData name="Darius Kuddo" userId="da7555aa-d650-4d73-b00b-d01e713f1329" providerId="ADAL" clId="{9A4B509C-EEE7-485A-994E-5919214B754D}" dt="2025-02-20T01:51:45.199" v="2199"/>
          <ac:spMkLst>
            <pc:docMk/>
            <pc:sldMk cId="3739907698" sldId="275"/>
            <ac:spMk id="2288" creationId="{D3E51C1B-467D-DDE5-D254-5338083BD11B}"/>
          </ac:spMkLst>
        </pc:spChg>
        <pc:spChg chg="add mod">
          <ac:chgData name="Darius Kuddo" userId="da7555aa-d650-4d73-b00b-d01e713f1329" providerId="ADAL" clId="{9A4B509C-EEE7-485A-994E-5919214B754D}" dt="2025-02-20T01:51:45.199" v="2199"/>
          <ac:spMkLst>
            <pc:docMk/>
            <pc:sldMk cId="3739907698" sldId="275"/>
            <ac:spMk id="2289" creationId="{DB6F8DFB-8070-4916-C1FF-B792CCFAD732}"/>
          </ac:spMkLst>
        </pc:spChg>
        <pc:spChg chg="add mod">
          <ac:chgData name="Darius Kuddo" userId="da7555aa-d650-4d73-b00b-d01e713f1329" providerId="ADAL" clId="{9A4B509C-EEE7-485A-994E-5919214B754D}" dt="2025-02-20T01:51:45.199" v="2199"/>
          <ac:spMkLst>
            <pc:docMk/>
            <pc:sldMk cId="3739907698" sldId="275"/>
            <ac:spMk id="2290" creationId="{2CC456F9-8A80-7E9E-FFEF-7155C9ABEA97}"/>
          </ac:spMkLst>
        </pc:spChg>
        <pc:spChg chg="add mod">
          <ac:chgData name="Darius Kuddo" userId="da7555aa-d650-4d73-b00b-d01e713f1329" providerId="ADAL" clId="{9A4B509C-EEE7-485A-994E-5919214B754D}" dt="2025-02-20T01:51:45.199" v="2199"/>
          <ac:spMkLst>
            <pc:docMk/>
            <pc:sldMk cId="3739907698" sldId="275"/>
            <ac:spMk id="2291" creationId="{C43CAE79-EE48-E53D-07B5-D651F4FE778B}"/>
          </ac:spMkLst>
        </pc:spChg>
        <pc:spChg chg="add mod">
          <ac:chgData name="Darius Kuddo" userId="da7555aa-d650-4d73-b00b-d01e713f1329" providerId="ADAL" clId="{9A4B509C-EEE7-485A-994E-5919214B754D}" dt="2025-02-20T01:51:45.199" v="2199"/>
          <ac:spMkLst>
            <pc:docMk/>
            <pc:sldMk cId="3739907698" sldId="275"/>
            <ac:spMk id="2292" creationId="{1690B8FF-B8ED-4E53-DBD8-98AD1B6F3521}"/>
          </ac:spMkLst>
        </pc:spChg>
        <pc:spChg chg="add mod">
          <ac:chgData name="Darius Kuddo" userId="da7555aa-d650-4d73-b00b-d01e713f1329" providerId="ADAL" clId="{9A4B509C-EEE7-485A-994E-5919214B754D}" dt="2025-02-20T01:51:45.199" v="2199"/>
          <ac:spMkLst>
            <pc:docMk/>
            <pc:sldMk cId="3739907698" sldId="275"/>
            <ac:spMk id="2293" creationId="{69946598-0486-A61C-A396-943CB15182A4}"/>
          </ac:spMkLst>
        </pc:spChg>
        <pc:spChg chg="add mod">
          <ac:chgData name="Darius Kuddo" userId="da7555aa-d650-4d73-b00b-d01e713f1329" providerId="ADAL" clId="{9A4B509C-EEE7-485A-994E-5919214B754D}" dt="2025-02-20T01:51:45.199" v="2199"/>
          <ac:spMkLst>
            <pc:docMk/>
            <pc:sldMk cId="3739907698" sldId="275"/>
            <ac:spMk id="2294" creationId="{0FBF16AC-BBBE-024F-E4E7-ED074D517A5E}"/>
          </ac:spMkLst>
        </pc:spChg>
        <pc:spChg chg="add mod">
          <ac:chgData name="Darius Kuddo" userId="da7555aa-d650-4d73-b00b-d01e713f1329" providerId="ADAL" clId="{9A4B509C-EEE7-485A-994E-5919214B754D}" dt="2025-02-20T01:51:45.199" v="2199"/>
          <ac:spMkLst>
            <pc:docMk/>
            <pc:sldMk cId="3739907698" sldId="275"/>
            <ac:spMk id="2295" creationId="{AB4EB129-EFC7-DFC0-E7F4-EE592E191B10}"/>
          </ac:spMkLst>
        </pc:spChg>
        <pc:spChg chg="mod">
          <ac:chgData name="Darius Kuddo" userId="da7555aa-d650-4d73-b00b-d01e713f1329" providerId="ADAL" clId="{9A4B509C-EEE7-485A-994E-5919214B754D}" dt="2025-02-20T01:51:45.199" v="2199"/>
          <ac:spMkLst>
            <pc:docMk/>
            <pc:sldMk cId="3739907698" sldId="275"/>
            <ac:spMk id="2297" creationId="{C25D9D45-0E6C-F502-0D40-334131A752D1}"/>
          </ac:spMkLst>
        </pc:spChg>
        <pc:spChg chg="mod">
          <ac:chgData name="Darius Kuddo" userId="da7555aa-d650-4d73-b00b-d01e713f1329" providerId="ADAL" clId="{9A4B509C-EEE7-485A-994E-5919214B754D}" dt="2025-02-20T01:51:45.199" v="2199"/>
          <ac:spMkLst>
            <pc:docMk/>
            <pc:sldMk cId="3739907698" sldId="275"/>
            <ac:spMk id="2298" creationId="{D077EF15-66CF-60FF-6846-D1397C1B99C6}"/>
          </ac:spMkLst>
        </pc:spChg>
        <pc:spChg chg="mod">
          <ac:chgData name="Darius Kuddo" userId="da7555aa-d650-4d73-b00b-d01e713f1329" providerId="ADAL" clId="{9A4B509C-EEE7-485A-994E-5919214B754D}" dt="2025-02-20T01:51:45.199" v="2199"/>
          <ac:spMkLst>
            <pc:docMk/>
            <pc:sldMk cId="3739907698" sldId="275"/>
            <ac:spMk id="2299" creationId="{859A9636-7410-BF25-7E93-DDC146E43FC0}"/>
          </ac:spMkLst>
        </pc:spChg>
        <pc:spChg chg="mod">
          <ac:chgData name="Darius Kuddo" userId="da7555aa-d650-4d73-b00b-d01e713f1329" providerId="ADAL" clId="{9A4B509C-EEE7-485A-994E-5919214B754D}" dt="2025-02-20T01:51:45.199" v="2199"/>
          <ac:spMkLst>
            <pc:docMk/>
            <pc:sldMk cId="3739907698" sldId="275"/>
            <ac:spMk id="2300" creationId="{09805AC6-78D2-8E02-EBA8-BC73ADF6C668}"/>
          </ac:spMkLst>
        </pc:spChg>
        <pc:spChg chg="mod">
          <ac:chgData name="Darius Kuddo" userId="da7555aa-d650-4d73-b00b-d01e713f1329" providerId="ADAL" clId="{9A4B509C-EEE7-485A-994E-5919214B754D}" dt="2025-02-20T01:51:45.199" v="2199"/>
          <ac:spMkLst>
            <pc:docMk/>
            <pc:sldMk cId="3739907698" sldId="275"/>
            <ac:spMk id="2301" creationId="{028B05EE-8FEB-C2EF-A0AE-08C2EB990AED}"/>
          </ac:spMkLst>
        </pc:spChg>
        <pc:spChg chg="del">
          <ac:chgData name="Darius Kuddo" userId="da7555aa-d650-4d73-b00b-d01e713f1329" providerId="ADAL" clId="{9A4B509C-EEE7-485A-994E-5919214B754D}" dt="2025-02-20T01:51:48.244" v="2200" actId="478"/>
          <ac:spMkLst>
            <pc:docMk/>
            <pc:sldMk cId="3739907698" sldId="275"/>
            <ac:spMk id="2304" creationId="{BAB2744F-3283-727C-041D-7A5163DE7638}"/>
          </ac:spMkLst>
        </pc:spChg>
        <pc:spChg chg="mod">
          <ac:chgData name="Darius Kuddo" userId="da7555aa-d650-4d73-b00b-d01e713f1329" providerId="ADAL" clId="{9A4B509C-EEE7-485A-994E-5919214B754D}" dt="2025-02-20T01:51:45.199" v="2199"/>
          <ac:spMkLst>
            <pc:docMk/>
            <pc:sldMk cId="3739907698" sldId="275"/>
            <ac:spMk id="2308" creationId="{07023DD7-43B6-C49C-497E-4DAB24658AA9}"/>
          </ac:spMkLst>
        </pc:spChg>
        <pc:spChg chg="mod">
          <ac:chgData name="Darius Kuddo" userId="da7555aa-d650-4d73-b00b-d01e713f1329" providerId="ADAL" clId="{9A4B509C-EEE7-485A-994E-5919214B754D}" dt="2025-02-20T01:51:45.199" v="2199"/>
          <ac:spMkLst>
            <pc:docMk/>
            <pc:sldMk cId="3739907698" sldId="275"/>
            <ac:spMk id="2309" creationId="{270BFAE1-A603-01C6-1485-6095DB5A8F88}"/>
          </ac:spMkLst>
        </pc:spChg>
        <pc:spChg chg="del">
          <ac:chgData name="Darius Kuddo" userId="da7555aa-d650-4d73-b00b-d01e713f1329" providerId="ADAL" clId="{9A4B509C-EEE7-485A-994E-5919214B754D}" dt="2025-02-20T01:51:48.244" v="2200" actId="478"/>
          <ac:spMkLst>
            <pc:docMk/>
            <pc:sldMk cId="3739907698" sldId="275"/>
            <ac:spMk id="2310" creationId="{4FAA096B-9D62-4F1C-E1F2-B7B837EF70FF}"/>
          </ac:spMkLst>
        </pc:spChg>
        <pc:spChg chg="mod">
          <ac:chgData name="Darius Kuddo" userId="da7555aa-d650-4d73-b00b-d01e713f1329" providerId="ADAL" clId="{9A4B509C-EEE7-485A-994E-5919214B754D}" dt="2025-02-20T01:51:45.199" v="2199"/>
          <ac:spMkLst>
            <pc:docMk/>
            <pc:sldMk cId="3739907698" sldId="275"/>
            <ac:spMk id="2311" creationId="{F02ED5A9-5662-31D5-1D7B-D814D45FA8AF}"/>
          </ac:spMkLst>
        </pc:spChg>
        <pc:spChg chg="del">
          <ac:chgData name="Darius Kuddo" userId="da7555aa-d650-4d73-b00b-d01e713f1329" providerId="ADAL" clId="{9A4B509C-EEE7-485A-994E-5919214B754D}" dt="2025-02-20T01:51:48.244" v="2200" actId="478"/>
          <ac:spMkLst>
            <pc:docMk/>
            <pc:sldMk cId="3739907698" sldId="275"/>
            <ac:spMk id="2312" creationId="{6214C67C-8BBE-2B82-FAB5-125EA1155C09}"/>
          </ac:spMkLst>
        </pc:spChg>
        <pc:spChg chg="del">
          <ac:chgData name="Darius Kuddo" userId="da7555aa-d650-4d73-b00b-d01e713f1329" providerId="ADAL" clId="{9A4B509C-EEE7-485A-994E-5919214B754D}" dt="2025-02-20T01:51:48.244" v="2200" actId="478"/>
          <ac:spMkLst>
            <pc:docMk/>
            <pc:sldMk cId="3739907698" sldId="275"/>
            <ac:spMk id="2313" creationId="{03925593-61F6-688A-D328-70A4EA5A0317}"/>
          </ac:spMkLst>
        </pc:spChg>
        <pc:spChg chg="mod">
          <ac:chgData name="Darius Kuddo" userId="da7555aa-d650-4d73-b00b-d01e713f1329" providerId="ADAL" clId="{9A4B509C-EEE7-485A-994E-5919214B754D}" dt="2025-02-20T01:51:45.199" v="2199"/>
          <ac:spMkLst>
            <pc:docMk/>
            <pc:sldMk cId="3739907698" sldId="275"/>
            <ac:spMk id="2314" creationId="{FF246E68-E1C8-5E48-4C28-BE9E7821C1BD}"/>
          </ac:spMkLst>
        </pc:spChg>
        <pc:spChg chg="mod">
          <ac:chgData name="Darius Kuddo" userId="da7555aa-d650-4d73-b00b-d01e713f1329" providerId="ADAL" clId="{9A4B509C-EEE7-485A-994E-5919214B754D}" dt="2025-02-20T01:51:45.199" v="2199"/>
          <ac:spMkLst>
            <pc:docMk/>
            <pc:sldMk cId="3739907698" sldId="275"/>
            <ac:spMk id="2315" creationId="{F3D785F1-03B8-3CDF-ADE0-CEA2006F7EE9}"/>
          </ac:spMkLst>
        </pc:spChg>
        <pc:spChg chg="mod">
          <ac:chgData name="Darius Kuddo" userId="da7555aa-d650-4d73-b00b-d01e713f1329" providerId="ADAL" clId="{9A4B509C-EEE7-485A-994E-5919214B754D}" dt="2025-02-20T01:51:45.199" v="2199"/>
          <ac:spMkLst>
            <pc:docMk/>
            <pc:sldMk cId="3739907698" sldId="275"/>
            <ac:spMk id="2319" creationId="{43BEF3E9-15B9-1EBD-521C-3B877D204ADE}"/>
          </ac:spMkLst>
        </pc:spChg>
        <pc:spChg chg="mod">
          <ac:chgData name="Darius Kuddo" userId="da7555aa-d650-4d73-b00b-d01e713f1329" providerId="ADAL" clId="{9A4B509C-EEE7-485A-994E-5919214B754D}" dt="2025-02-20T01:51:45.199" v="2199"/>
          <ac:spMkLst>
            <pc:docMk/>
            <pc:sldMk cId="3739907698" sldId="275"/>
            <ac:spMk id="2320" creationId="{44C5B65B-DDD4-D339-8918-AF95C70AE794}"/>
          </ac:spMkLst>
        </pc:spChg>
        <pc:spChg chg="mod">
          <ac:chgData name="Darius Kuddo" userId="da7555aa-d650-4d73-b00b-d01e713f1329" providerId="ADAL" clId="{9A4B509C-EEE7-485A-994E-5919214B754D}" dt="2025-02-20T01:51:45.199" v="2199"/>
          <ac:spMkLst>
            <pc:docMk/>
            <pc:sldMk cId="3739907698" sldId="275"/>
            <ac:spMk id="2321" creationId="{BC1B8ECB-D807-F3B3-9D79-784E121F6E3E}"/>
          </ac:spMkLst>
        </pc:spChg>
        <pc:spChg chg="mod">
          <ac:chgData name="Darius Kuddo" userId="da7555aa-d650-4d73-b00b-d01e713f1329" providerId="ADAL" clId="{9A4B509C-EEE7-485A-994E-5919214B754D}" dt="2025-02-20T01:51:45.199" v="2199"/>
          <ac:spMkLst>
            <pc:docMk/>
            <pc:sldMk cId="3739907698" sldId="275"/>
            <ac:spMk id="2322" creationId="{DF344899-9270-5C30-4168-082D272EB579}"/>
          </ac:spMkLst>
        </pc:spChg>
        <pc:spChg chg="mod">
          <ac:chgData name="Darius Kuddo" userId="da7555aa-d650-4d73-b00b-d01e713f1329" providerId="ADAL" clId="{9A4B509C-EEE7-485A-994E-5919214B754D}" dt="2025-02-20T01:51:45.199" v="2199"/>
          <ac:spMkLst>
            <pc:docMk/>
            <pc:sldMk cId="3739907698" sldId="275"/>
            <ac:spMk id="2326" creationId="{855118CE-E3AC-B1C7-B6F5-434C3FAF281F}"/>
          </ac:spMkLst>
        </pc:spChg>
        <pc:spChg chg="del">
          <ac:chgData name="Darius Kuddo" userId="da7555aa-d650-4d73-b00b-d01e713f1329" providerId="ADAL" clId="{9A4B509C-EEE7-485A-994E-5919214B754D}" dt="2025-02-20T01:51:48.244" v="2200" actId="478"/>
          <ac:spMkLst>
            <pc:docMk/>
            <pc:sldMk cId="3739907698" sldId="275"/>
            <ac:spMk id="2327" creationId="{5C4D7969-9069-0C39-66D6-D6CEEEE4745F}"/>
          </ac:spMkLst>
        </pc:spChg>
        <pc:spChg chg="mod">
          <ac:chgData name="Darius Kuddo" userId="da7555aa-d650-4d73-b00b-d01e713f1329" providerId="ADAL" clId="{9A4B509C-EEE7-485A-994E-5919214B754D}" dt="2025-02-20T01:51:45.199" v="2199"/>
          <ac:spMkLst>
            <pc:docMk/>
            <pc:sldMk cId="3739907698" sldId="275"/>
            <ac:spMk id="2328" creationId="{789BB343-F8B4-B1E1-8B11-90247D274CA7}"/>
          </ac:spMkLst>
        </pc:spChg>
        <pc:spChg chg="mod">
          <ac:chgData name="Darius Kuddo" userId="da7555aa-d650-4d73-b00b-d01e713f1329" providerId="ADAL" clId="{9A4B509C-EEE7-485A-994E-5919214B754D}" dt="2025-02-20T01:51:45.199" v="2199"/>
          <ac:spMkLst>
            <pc:docMk/>
            <pc:sldMk cId="3739907698" sldId="275"/>
            <ac:spMk id="2329" creationId="{5322B8EC-81AA-8FB8-94FD-62A8BCB686FE}"/>
          </ac:spMkLst>
        </pc:spChg>
        <pc:spChg chg="mod">
          <ac:chgData name="Darius Kuddo" userId="da7555aa-d650-4d73-b00b-d01e713f1329" providerId="ADAL" clId="{9A4B509C-EEE7-485A-994E-5919214B754D}" dt="2025-02-20T01:51:45.199" v="2199"/>
          <ac:spMkLst>
            <pc:docMk/>
            <pc:sldMk cId="3739907698" sldId="275"/>
            <ac:spMk id="2330" creationId="{73668A5F-F567-8B18-8391-78802976099D}"/>
          </ac:spMkLst>
        </pc:spChg>
        <pc:spChg chg="mod">
          <ac:chgData name="Darius Kuddo" userId="da7555aa-d650-4d73-b00b-d01e713f1329" providerId="ADAL" clId="{9A4B509C-EEE7-485A-994E-5919214B754D}" dt="2025-02-20T01:51:45.199" v="2199"/>
          <ac:spMkLst>
            <pc:docMk/>
            <pc:sldMk cId="3739907698" sldId="275"/>
            <ac:spMk id="2331" creationId="{A1D60346-1DE8-323C-837C-E18487A680DD}"/>
          </ac:spMkLst>
        </pc:spChg>
        <pc:spChg chg="mod">
          <ac:chgData name="Darius Kuddo" userId="da7555aa-d650-4d73-b00b-d01e713f1329" providerId="ADAL" clId="{9A4B509C-EEE7-485A-994E-5919214B754D}" dt="2025-02-20T01:51:45.199" v="2199"/>
          <ac:spMkLst>
            <pc:docMk/>
            <pc:sldMk cId="3739907698" sldId="275"/>
            <ac:spMk id="2332" creationId="{106CC3B9-0766-9D42-F532-2B12A24262ED}"/>
          </ac:spMkLst>
        </pc:spChg>
        <pc:spChg chg="del">
          <ac:chgData name="Darius Kuddo" userId="da7555aa-d650-4d73-b00b-d01e713f1329" providerId="ADAL" clId="{9A4B509C-EEE7-485A-994E-5919214B754D}" dt="2025-02-20T01:51:48.244" v="2200" actId="478"/>
          <ac:spMkLst>
            <pc:docMk/>
            <pc:sldMk cId="3739907698" sldId="275"/>
            <ac:spMk id="2333" creationId="{AB74A055-F8E0-0A46-35BE-586161B4A885}"/>
          </ac:spMkLst>
        </pc:spChg>
        <pc:spChg chg="mod">
          <ac:chgData name="Darius Kuddo" userId="da7555aa-d650-4d73-b00b-d01e713f1329" providerId="ADAL" clId="{9A4B509C-EEE7-485A-994E-5919214B754D}" dt="2025-02-20T01:51:45.199" v="2199"/>
          <ac:spMkLst>
            <pc:docMk/>
            <pc:sldMk cId="3739907698" sldId="275"/>
            <ac:spMk id="2334" creationId="{1D501BE2-4684-53F5-D46D-6DE65DA69E3B}"/>
          </ac:spMkLst>
        </pc:spChg>
        <pc:spChg chg="mod">
          <ac:chgData name="Darius Kuddo" userId="da7555aa-d650-4d73-b00b-d01e713f1329" providerId="ADAL" clId="{9A4B509C-EEE7-485A-994E-5919214B754D}" dt="2025-02-20T01:51:45.199" v="2199"/>
          <ac:spMkLst>
            <pc:docMk/>
            <pc:sldMk cId="3739907698" sldId="275"/>
            <ac:spMk id="2335" creationId="{3BE17D48-679B-33FD-411B-722539FFA8E8}"/>
          </ac:spMkLst>
        </pc:spChg>
        <pc:spChg chg="mod">
          <ac:chgData name="Darius Kuddo" userId="da7555aa-d650-4d73-b00b-d01e713f1329" providerId="ADAL" clId="{9A4B509C-EEE7-485A-994E-5919214B754D}" dt="2025-02-20T01:51:45.199" v="2199"/>
          <ac:spMkLst>
            <pc:docMk/>
            <pc:sldMk cId="3739907698" sldId="275"/>
            <ac:spMk id="2336" creationId="{7A563CA5-FC75-40C5-47FD-C22661C30557}"/>
          </ac:spMkLst>
        </pc:spChg>
        <pc:spChg chg="mod">
          <ac:chgData name="Darius Kuddo" userId="da7555aa-d650-4d73-b00b-d01e713f1329" providerId="ADAL" clId="{9A4B509C-EEE7-485A-994E-5919214B754D}" dt="2025-02-20T01:51:45.199" v="2199"/>
          <ac:spMkLst>
            <pc:docMk/>
            <pc:sldMk cId="3739907698" sldId="275"/>
            <ac:spMk id="2337" creationId="{78C2CE17-EDDA-D533-63EB-F3B5AE91B77D}"/>
          </ac:spMkLst>
        </pc:spChg>
        <pc:spChg chg="mod">
          <ac:chgData name="Darius Kuddo" userId="da7555aa-d650-4d73-b00b-d01e713f1329" providerId="ADAL" clId="{9A4B509C-EEE7-485A-994E-5919214B754D}" dt="2025-02-20T01:51:45.199" v="2199"/>
          <ac:spMkLst>
            <pc:docMk/>
            <pc:sldMk cId="3739907698" sldId="275"/>
            <ac:spMk id="2338" creationId="{96A16052-A82E-44E9-4C0C-9F419F91A0A3}"/>
          </ac:spMkLst>
        </pc:spChg>
        <pc:spChg chg="mod">
          <ac:chgData name="Darius Kuddo" userId="da7555aa-d650-4d73-b00b-d01e713f1329" providerId="ADAL" clId="{9A4B509C-EEE7-485A-994E-5919214B754D}" dt="2025-02-20T01:51:45.199" v="2199"/>
          <ac:spMkLst>
            <pc:docMk/>
            <pc:sldMk cId="3739907698" sldId="275"/>
            <ac:spMk id="2339" creationId="{4CCFED1A-6A96-2270-F1FB-EDBD02ED7141}"/>
          </ac:spMkLst>
        </pc:spChg>
        <pc:spChg chg="mod">
          <ac:chgData name="Darius Kuddo" userId="da7555aa-d650-4d73-b00b-d01e713f1329" providerId="ADAL" clId="{9A4B509C-EEE7-485A-994E-5919214B754D}" dt="2025-02-20T01:51:45.199" v="2199"/>
          <ac:spMkLst>
            <pc:docMk/>
            <pc:sldMk cId="3739907698" sldId="275"/>
            <ac:spMk id="2340" creationId="{F0DBD5B1-99B8-23FC-A8EC-1C270B828028}"/>
          </ac:spMkLst>
        </pc:spChg>
        <pc:spChg chg="mod">
          <ac:chgData name="Darius Kuddo" userId="da7555aa-d650-4d73-b00b-d01e713f1329" providerId="ADAL" clId="{9A4B509C-EEE7-485A-994E-5919214B754D}" dt="2025-02-20T01:51:45.199" v="2199"/>
          <ac:spMkLst>
            <pc:docMk/>
            <pc:sldMk cId="3739907698" sldId="275"/>
            <ac:spMk id="2341" creationId="{C61A6367-77CA-2E73-01DE-6CE440FE1132}"/>
          </ac:spMkLst>
        </pc:spChg>
        <pc:spChg chg="mod">
          <ac:chgData name="Darius Kuddo" userId="da7555aa-d650-4d73-b00b-d01e713f1329" providerId="ADAL" clId="{9A4B509C-EEE7-485A-994E-5919214B754D}" dt="2025-02-20T01:51:45.199" v="2199"/>
          <ac:spMkLst>
            <pc:docMk/>
            <pc:sldMk cId="3739907698" sldId="275"/>
            <ac:spMk id="2342" creationId="{41E8A67D-F76E-BC30-8631-E3FE7F84AFC5}"/>
          </ac:spMkLst>
        </pc:spChg>
        <pc:spChg chg="mod">
          <ac:chgData name="Darius Kuddo" userId="da7555aa-d650-4d73-b00b-d01e713f1329" providerId="ADAL" clId="{9A4B509C-EEE7-485A-994E-5919214B754D}" dt="2025-02-20T01:51:45.199" v="2199"/>
          <ac:spMkLst>
            <pc:docMk/>
            <pc:sldMk cId="3739907698" sldId="275"/>
            <ac:spMk id="2343" creationId="{6A7C183B-6898-B1DA-347B-76C881F584E8}"/>
          </ac:spMkLst>
        </pc:spChg>
        <pc:spChg chg="mod">
          <ac:chgData name="Darius Kuddo" userId="da7555aa-d650-4d73-b00b-d01e713f1329" providerId="ADAL" clId="{9A4B509C-EEE7-485A-994E-5919214B754D}" dt="2025-02-20T01:51:45.199" v="2199"/>
          <ac:spMkLst>
            <pc:docMk/>
            <pc:sldMk cId="3739907698" sldId="275"/>
            <ac:spMk id="2344" creationId="{E3F7F1BD-95F7-C3EA-77BA-2F77B260F5CE}"/>
          </ac:spMkLst>
        </pc:spChg>
        <pc:spChg chg="mod">
          <ac:chgData name="Darius Kuddo" userId="da7555aa-d650-4d73-b00b-d01e713f1329" providerId="ADAL" clId="{9A4B509C-EEE7-485A-994E-5919214B754D}" dt="2025-02-20T01:51:45.199" v="2199"/>
          <ac:spMkLst>
            <pc:docMk/>
            <pc:sldMk cId="3739907698" sldId="275"/>
            <ac:spMk id="2345" creationId="{DD447F6D-BF10-8E2B-86D2-C828DEFD9C0E}"/>
          </ac:spMkLst>
        </pc:spChg>
        <pc:spChg chg="mod">
          <ac:chgData name="Darius Kuddo" userId="da7555aa-d650-4d73-b00b-d01e713f1329" providerId="ADAL" clId="{9A4B509C-EEE7-485A-994E-5919214B754D}" dt="2025-02-20T01:51:45.199" v="2199"/>
          <ac:spMkLst>
            <pc:docMk/>
            <pc:sldMk cId="3739907698" sldId="275"/>
            <ac:spMk id="2346" creationId="{41B52755-1951-63FC-AF40-53898B967456}"/>
          </ac:spMkLst>
        </pc:spChg>
        <pc:spChg chg="mod">
          <ac:chgData name="Darius Kuddo" userId="da7555aa-d650-4d73-b00b-d01e713f1329" providerId="ADAL" clId="{9A4B509C-EEE7-485A-994E-5919214B754D}" dt="2025-02-20T01:51:45.199" v="2199"/>
          <ac:spMkLst>
            <pc:docMk/>
            <pc:sldMk cId="3739907698" sldId="275"/>
            <ac:spMk id="2347" creationId="{0834F18A-3E49-1472-FAD2-1595381BD47A}"/>
          </ac:spMkLst>
        </pc:spChg>
        <pc:spChg chg="mod">
          <ac:chgData name="Darius Kuddo" userId="da7555aa-d650-4d73-b00b-d01e713f1329" providerId="ADAL" clId="{9A4B509C-EEE7-485A-994E-5919214B754D}" dt="2025-02-20T01:51:45.199" v="2199"/>
          <ac:spMkLst>
            <pc:docMk/>
            <pc:sldMk cId="3739907698" sldId="275"/>
            <ac:spMk id="2348" creationId="{EA32688E-15E4-0B7B-3D86-04F2F882703A}"/>
          </ac:spMkLst>
        </pc:spChg>
        <pc:spChg chg="del">
          <ac:chgData name="Darius Kuddo" userId="da7555aa-d650-4d73-b00b-d01e713f1329" providerId="ADAL" clId="{9A4B509C-EEE7-485A-994E-5919214B754D}" dt="2025-02-20T01:51:48.244" v="2200" actId="478"/>
          <ac:spMkLst>
            <pc:docMk/>
            <pc:sldMk cId="3739907698" sldId="275"/>
            <ac:spMk id="2350" creationId="{80E096C9-11BA-23E3-2507-998B9BEA803B}"/>
          </ac:spMkLst>
        </pc:spChg>
        <pc:spChg chg="mod">
          <ac:chgData name="Darius Kuddo" userId="da7555aa-d650-4d73-b00b-d01e713f1329" providerId="ADAL" clId="{9A4B509C-EEE7-485A-994E-5919214B754D}" dt="2025-02-20T01:51:45.199" v="2199"/>
          <ac:spMkLst>
            <pc:docMk/>
            <pc:sldMk cId="3739907698" sldId="275"/>
            <ac:spMk id="2351" creationId="{3868C681-EAD4-A66A-5DA9-3851D66F948F}"/>
          </ac:spMkLst>
        </pc:spChg>
        <pc:spChg chg="mod">
          <ac:chgData name="Darius Kuddo" userId="da7555aa-d650-4d73-b00b-d01e713f1329" providerId="ADAL" clId="{9A4B509C-EEE7-485A-994E-5919214B754D}" dt="2025-02-20T01:51:45.199" v="2199"/>
          <ac:spMkLst>
            <pc:docMk/>
            <pc:sldMk cId="3739907698" sldId="275"/>
            <ac:spMk id="2352" creationId="{A37F9E6A-FD1D-2758-BA17-8085ED9C6F67}"/>
          </ac:spMkLst>
        </pc:spChg>
        <pc:spChg chg="mod">
          <ac:chgData name="Darius Kuddo" userId="da7555aa-d650-4d73-b00b-d01e713f1329" providerId="ADAL" clId="{9A4B509C-EEE7-485A-994E-5919214B754D}" dt="2025-02-20T01:51:45.199" v="2199"/>
          <ac:spMkLst>
            <pc:docMk/>
            <pc:sldMk cId="3739907698" sldId="275"/>
            <ac:spMk id="2353" creationId="{89ABD868-A877-8783-94F9-FC831F7D4839}"/>
          </ac:spMkLst>
        </pc:spChg>
        <pc:spChg chg="mod">
          <ac:chgData name="Darius Kuddo" userId="da7555aa-d650-4d73-b00b-d01e713f1329" providerId="ADAL" clId="{9A4B509C-EEE7-485A-994E-5919214B754D}" dt="2025-02-20T01:51:45.199" v="2199"/>
          <ac:spMkLst>
            <pc:docMk/>
            <pc:sldMk cId="3739907698" sldId="275"/>
            <ac:spMk id="2354" creationId="{0C0C5221-F093-5ABD-5EFC-68289AA35A16}"/>
          </ac:spMkLst>
        </pc:spChg>
        <pc:spChg chg="mod">
          <ac:chgData name="Darius Kuddo" userId="da7555aa-d650-4d73-b00b-d01e713f1329" providerId="ADAL" clId="{9A4B509C-EEE7-485A-994E-5919214B754D}" dt="2025-02-20T01:51:45.199" v="2199"/>
          <ac:spMkLst>
            <pc:docMk/>
            <pc:sldMk cId="3739907698" sldId="275"/>
            <ac:spMk id="2355" creationId="{6F59F268-3551-31BB-0B51-D03240659005}"/>
          </ac:spMkLst>
        </pc:spChg>
        <pc:spChg chg="del">
          <ac:chgData name="Darius Kuddo" userId="da7555aa-d650-4d73-b00b-d01e713f1329" providerId="ADAL" clId="{9A4B509C-EEE7-485A-994E-5919214B754D}" dt="2025-02-20T01:51:48.244" v="2200" actId="478"/>
          <ac:spMkLst>
            <pc:docMk/>
            <pc:sldMk cId="3739907698" sldId="275"/>
            <ac:spMk id="2356" creationId="{6B723FF9-D86E-E1A5-F976-92F1A040D7B9}"/>
          </ac:spMkLst>
        </pc:spChg>
        <pc:spChg chg="mod">
          <ac:chgData name="Darius Kuddo" userId="da7555aa-d650-4d73-b00b-d01e713f1329" providerId="ADAL" clId="{9A4B509C-EEE7-485A-994E-5919214B754D}" dt="2025-02-20T01:51:45.199" v="2199"/>
          <ac:spMkLst>
            <pc:docMk/>
            <pc:sldMk cId="3739907698" sldId="275"/>
            <ac:spMk id="2357" creationId="{1F6E058E-555C-E64C-4CF2-9967C553F37A}"/>
          </ac:spMkLst>
        </pc:spChg>
        <pc:spChg chg="del">
          <ac:chgData name="Darius Kuddo" userId="da7555aa-d650-4d73-b00b-d01e713f1329" providerId="ADAL" clId="{9A4B509C-EEE7-485A-994E-5919214B754D}" dt="2025-02-20T01:51:48.244" v="2200" actId="478"/>
          <ac:spMkLst>
            <pc:docMk/>
            <pc:sldMk cId="3739907698" sldId="275"/>
            <ac:spMk id="2358" creationId="{A5C10EEB-4A71-4C8C-C002-EF82B97D9AFD}"/>
          </ac:spMkLst>
        </pc:spChg>
        <pc:spChg chg="mod">
          <ac:chgData name="Darius Kuddo" userId="da7555aa-d650-4d73-b00b-d01e713f1329" providerId="ADAL" clId="{9A4B509C-EEE7-485A-994E-5919214B754D}" dt="2025-02-20T01:51:45.199" v="2199"/>
          <ac:spMkLst>
            <pc:docMk/>
            <pc:sldMk cId="3739907698" sldId="275"/>
            <ac:spMk id="2359" creationId="{D7AD40A3-D521-1A1B-761A-F67E23BAA8B0}"/>
          </ac:spMkLst>
        </pc:spChg>
        <pc:spChg chg="mod">
          <ac:chgData name="Darius Kuddo" userId="da7555aa-d650-4d73-b00b-d01e713f1329" providerId="ADAL" clId="{9A4B509C-EEE7-485A-994E-5919214B754D}" dt="2025-02-20T01:51:45.199" v="2199"/>
          <ac:spMkLst>
            <pc:docMk/>
            <pc:sldMk cId="3739907698" sldId="275"/>
            <ac:spMk id="2360" creationId="{5E355C4A-2CD2-CD98-F0C9-C497D16FF9E0}"/>
          </ac:spMkLst>
        </pc:spChg>
        <pc:spChg chg="mod">
          <ac:chgData name="Darius Kuddo" userId="da7555aa-d650-4d73-b00b-d01e713f1329" providerId="ADAL" clId="{9A4B509C-EEE7-485A-994E-5919214B754D}" dt="2025-02-20T01:51:45.199" v="2199"/>
          <ac:spMkLst>
            <pc:docMk/>
            <pc:sldMk cId="3739907698" sldId="275"/>
            <ac:spMk id="2361" creationId="{CDFB8257-5ED3-604F-D0B3-DEA237436B86}"/>
          </ac:spMkLst>
        </pc:spChg>
        <pc:spChg chg="mod">
          <ac:chgData name="Darius Kuddo" userId="da7555aa-d650-4d73-b00b-d01e713f1329" providerId="ADAL" clId="{9A4B509C-EEE7-485A-994E-5919214B754D}" dt="2025-02-20T01:51:45.199" v="2199"/>
          <ac:spMkLst>
            <pc:docMk/>
            <pc:sldMk cId="3739907698" sldId="275"/>
            <ac:spMk id="2362" creationId="{D32AD2AE-D654-C306-8EFE-F1867974FA82}"/>
          </ac:spMkLst>
        </pc:spChg>
        <pc:spChg chg="mod">
          <ac:chgData name="Darius Kuddo" userId="da7555aa-d650-4d73-b00b-d01e713f1329" providerId="ADAL" clId="{9A4B509C-EEE7-485A-994E-5919214B754D}" dt="2025-02-20T01:51:45.199" v="2199"/>
          <ac:spMkLst>
            <pc:docMk/>
            <pc:sldMk cId="3739907698" sldId="275"/>
            <ac:spMk id="2363" creationId="{6C4F3B27-71E6-3ADB-BE01-F774535C27AA}"/>
          </ac:spMkLst>
        </pc:spChg>
        <pc:spChg chg="mod">
          <ac:chgData name="Darius Kuddo" userId="da7555aa-d650-4d73-b00b-d01e713f1329" providerId="ADAL" clId="{9A4B509C-EEE7-485A-994E-5919214B754D}" dt="2025-02-20T01:51:45.199" v="2199"/>
          <ac:spMkLst>
            <pc:docMk/>
            <pc:sldMk cId="3739907698" sldId="275"/>
            <ac:spMk id="2364" creationId="{B322EA01-BA1E-B6EA-AB78-77155594BBBF}"/>
          </ac:spMkLst>
        </pc:spChg>
        <pc:spChg chg="mod">
          <ac:chgData name="Darius Kuddo" userId="da7555aa-d650-4d73-b00b-d01e713f1329" providerId="ADAL" clId="{9A4B509C-EEE7-485A-994E-5919214B754D}" dt="2025-02-20T01:51:45.199" v="2199"/>
          <ac:spMkLst>
            <pc:docMk/>
            <pc:sldMk cId="3739907698" sldId="275"/>
            <ac:spMk id="2365" creationId="{A142CC82-7436-CB3C-9510-2B4DE82DD563}"/>
          </ac:spMkLst>
        </pc:spChg>
        <pc:spChg chg="mod">
          <ac:chgData name="Darius Kuddo" userId="da7555aa-d650-4d73-b00b-d01e713f1329" providerId="ADAL" clId="{9A4B509C-EEE7-485A-994E-5919214B754D}" dt="2025-02-20T01:51:45.199" v="2199"/>
          <ac:spMkLst>
            <pc:docMk/>
            <pc:sldMk cId="3739907698" sldId="275"/>
            <ac:spMk id="2366" creationId="{633EBF43-01FF-479F-AC5A-6A8938C97B0B}"/>
          </ac:spMkLst>
        </pc:spChg>
        <pc:spChg chg="mod">
          <ac:chgData name="Darius Kuddo" userId="da7555aa-d650-4d73-b00b-d01e713f1329" providerId="ADAL" clId="{9A4B509C-EEE7-485A-994E-5919214B754D}" dt="2025-02-20T01:51:45.199" v="2199"/>
          <ac:spMkLst>
            <pc:docMk/>
            <pc:sldMk cId="3739907698" sldId="275"/>
            <ac:spMk id="2367" creationId="{589E1DF5-3CA6-1E71-DCAA-1141EFC4CFDC}"/>
          </ac:spMkLst>
        </pc:spChg>
        <pc:spChg chg="mod">
          <ac:chgData name="Darius Kuddo" userId="da7555aa-d650-4d73-b00b-d01e713f1329" providerId="ADAL" clId="{9A4B509C-EEE7-485A-994E-5919214B754D}" dt="2025-02-20T01:51:45.199" v="2199"/>
          <ac:spMkLst>
            <pc:docMk/>
            <pc:sldMk cId="3739907698" sldId="275"/>
            <ac:spMk id="2369" creationId="{F2946E73-EFDA-7BBC-8572-381BAE4FBCE2}"/>
          </ac:spMkLst>
        </pc:spChg>
        <pc:spChg chg="mod">
          <ac:chgData name="Darius Kuddo" userId="da7555aa-d650-4d73-b00b-d01e713f1329" providerId="ADAL" clId="{9A4B509C-EEE7-485A-994E-5919214B754D}" dt="2025-02-20T01:51:45.199" v="2199"/>
          <ac:spMkLst>
            <pc:docMk/>
            <pc:sldMk cId="3739907698" sldId="275"/>
            <ac:spMk id="2370" creationId="{16F9BB3C-C882-8F12-8FB7-AF4EB5D918FC}"/>
          </ac:spMkLst>
        </pc:spChg>
        <pc:spChg chg="mod">
          <ac:chgData name="Darius Kuddo" userId="da7555aa-d650-4d73-b00b-d01e713f1329" providerId="ADAL" clId="{9A4B509C-EEE7-485A-994E-5919214B754D}" dt="2025-02-20T01:51:45.199" v="2199"/>
          <ac:spMkLst>
            <pc:docMk/>
            <pc:sldMk cId="3739907698" sldId="275"/>
            <ac:spMk id="2371" creationId="{BCA746F0-0A6E-F0AB-E688-48BB6BF20913}"/>
          </ac:spMkLst>
        </pc:spChg>
        <pc:spChg chg="mod">
          <ac:chgData name="Darius Kuddo" userId="da7555aa-d650-4d73-b00b-d01e713f1329" providerId="ADAL" clId="{9A4B509C-EEE7-485A-994E-5919214B754D}" dt="2025-02-20T01:51:45.199" v="2199"/>
          <ac:spMkLst>
            <pc:docMk/>
            <pc:sldMk cId="3739907698" sldId="275"/>
            <ac:spMk id="2372" creationId="{C3C9EDB2-E334-ABBE-C2D8-9560CE0404BF}"/>
          </ac:spMkLst>
        </pc:spChg>
        <pc:spChg chg="del">
          <ac:chgData name="Darius Kuddo" userId="da7555aa-d650-4d73-b00b-d01e713f1329" providerId="ADAL" clId="{9A4B509C-EEE7-485A-994E-5919214B754D}" dt="2025-02-20T01:51:48.244" v="2200" actId="478"/>
          <ac:spMkLst>
            <pc:docMk/>
            <pc:sldMk cId="3739907698" sldId="275"/>
            <ac:spMk id="2373" creationId="{2535B7FE-3FC5-9C27-4B00-245D6A4F7DCB}"/>
          </ac:spMkLst>
        </pc:spChg>
        <pc:spChg chg="mod">
          <ac:chgData name="Darius Kuddo" userId="da7555aa-d650-4d73-b00b-d01e713f1329" providerId="ADAL" clId="{9A4B509C-EEE7-485A-994E-5919214B754D}" dt="2025-02-20T01:51:45.199" v="2199"/>
          <ac:spMkLst>
            <pc:docMk/>
            <pc:sldMk cId="3739907698" sldId="275"/>
            <ac:spMk id="2374" creationId="{B7DC1F1C-76EA-52C8-4539-4AC56AF0FBD7}"/>
          </ac:spMkLst>
        </pc:spChg>
        <pc:spChg chg="mod">
          <ac:chgData name="Darius Kuddo" userId="da7555aa-d650-4d73-b00b-d01e713f1329" providerId="ADAL" clId="{9A4B509C-EEE7-485A-994E-5919214B754D}" dt="2025-02-20T01:51:45.199" v="2199"/>
          <ac:spMkLst>
            <pc:docMk/>
            <pc:sldMk cId="3739907698" sldId="275"/>
            <ac:spMk id="2375" creationId="{A13F9116-4771-312B-9143-3E85DDC4BF42}"/>
          </ac:spMkLst>
        </pc:spChg>
        <pc:spChg chg="mod">
          <ac:chgData name="Darius Kuddo" userId="da7555aa-d650-4d73-b00b-d01e713f1329" providerId="ADAL" clId="{9A4B509C-EEE7-485A-994E-5919214B754D}" dt="2025-02-20T01:51:45.199" v="2199"/>
          <ac:spMkLst>
            <pc:docMk/>
            <pc:sldMk cId="3739907698" sldId="275"/>
            <ac:spMk id="2376" creationId="{F858151D-242F-FCF8-65D8-534DA672A122}"/>
          </ac:spMkLst>
        </pc:spChg>
        <pc:spChg chg="mod">
          <ac:chgData name="Darius Kuddo" userId="da7555aa-d650-4d73-b00b-d01e713f1329" providerId="ADAL" clId="{9A4B509C-EEE7-485A-994E-5919214B754D}" dt="2025-02-20T01:51:45.199" v="2199"/>
          <ac:spMkLst>
            <pc:docMk/>
            <pc:sldMk cId="3739907698" sldId="275"/>
            <ac:spMk id="2377" creationId="{B3C65569-46B5-C519-FD97-6601847E5057}"/>
          </ac:spMkLst>
        </pc:spChg>
        <pc:spChg chg="mod">
          <ac:chgData name="Darius Kuddo" userId="da7555aa-d650-4d73-b00b-d01e713f1329" providerId="ADAL" clId="{9A4B509C-EEE7-485A-994E-5919214B754D}" dt="2025-02-20T01:51:45.199" v="2199"/>
          <ac:spMkLst>
            <pc:docMk/>
            <pc:sldMk cId="3739907698" sldId="275"/>
            <ac:spMk id="2378" creationId="{E0C6ECD1-A52E-6576-99AF-033170A082DE}"/>
          </ac:spMkLst>
        </pc:spChg>
        <pc:spChg chg="del">
          <ac:chgData name="Darius Kuddo" userId="da7555aa-d650-4d73-b00b-d01e713f1329" providerId="ADAL" clId="{9A4B509C-EEE7-485A-994E-5919214B754D}" dt="2025-02-20T01:51:48.244" v="2200" actId="478"/>
          <ac:spMkLst>
            <pc:docMk/>
            <pc:sldMk cId="3739907698" sldId="275"/>
            <ac:spMk id="2379" creationId="{56F2F2A4-ED1C-5C08-EA0E-449274C105DB}"/>
          </ac:spMkLst>
        </pc:spChg>
        <pc:spChg chg="mod">
          <ac:chgData name="Darius Kuddo" userId="da7555aa-d650-4d73-b00b-d01e713f1329" providerId="ADAL" clId="{9A4B509C-EEE7-485A-994E-5919214B754D}" dt="2025-02-20T01:51:45.199" v="2199"/>
          <ac:spMkLst>
            <pc:docMk/>
            <pc:sldMk cId="3739907698" sldId="275"/>
            <ac:spMk id="2380" creationId="{63F4FAC8-4C8A-5794-5860-F0179802AFA2}"/>
          </ac:spMkLst>
        </pc:spChg>
        <pc:spChg chg="mod">
          <ac:chgData name="Darius Kuddo" userId="da7555aa-d650-4d73-b00b-d01e713f1329" providerId="ADAL" clId="{9A4B509C-EEE7-485A-994E-5919214B754D}" dt="2025-02-20T01:51:45.199" v="2199"/>
          <ac:spMkLst>
            <pc:docMk/>
            <pc:sldMk cId="3739907698" sldId="275"/>
            <ac:spMk id="2381" creationId="{EAD08D7A-09F5-D760-80C5-2C420A02A74F}"/>
          </ac:spMkLst>
        </pc:spChg>
        <pc:spChg chg="mod">
          <ac:chgData name="Darius Kuddo" userId="da7555aa-d650-4d73-b00b-d01e713f1329" providerId="ADAL" clId="{9A4B509C-EEE7-485A-994E-5919214B754D}" dt="2025-02-20T01:51:45.199" v="2199"/>
          <ac:spMkLst>
            <pc:docMk/>
            <pc:sldMk cId="3739907698" sldId="275"/>
            <ac:spMk id="2382" creationId="{3CB98899-78AA-F3FD-C585-B0990E7980AA}"/>
          </ac:spMkLst>
        </pc:spChg>
        <pc:spChg chg="mod">
          <ac:chgData name="Darius Kuddo" userId="da7555aa-d650-4d73-b00b-d01e713f1329" providerId="ADAL" clId="{9A4B509C-EEE7-485A-994E-5919214B754D}" dt="2025-02-20T01:51:45.199" v="2199"/>
          <ac:spMkLst>
            <pc:docMk/>
            <pc:sldMk cId="3739907698" sldId="275"/>
            <ac:spMk id="2383" creationId="{39DC88F6-54CD-D151-506B-5BF67FFA1FF4}"/>
          </ac:spMkLst>
        </pc:spChg>
        <pc:spChg chg="mod">
          <ac:chgData name="Darius Kuddo" userId="da7555aa-d650-4d73-b00b-d01e713f1329" providerId="ADAL" clId="{9A4B509C-EEE7-485A-994E-5919214B754D}" dt="2025-02-20T01:51:45.199" v="2199"/>
          <ac:spMkLst>
            <pc:docMk/>
            <pc:sldMk cId="3739907698" sldId="275"/>
            <ac:spMk id="2384" creationId="{4C08EBC8-0309-EAEB-98A2-21ACC729118D}"/>
          </ac:spMkLst>
        </pc:spChg>
        <pc:spChg chg="mod">
          <ac:chgData name="Darius Kuddo" userId="da7555aa-d650-4d73-b00b-d01e713f1329" providerId="ADAL" clId="{9A4B509C-EEE7-485A-994E-5919214B754D}" dt="2025-02-20T01:51:45.199" v="2199"/>
          <ac:spMkLst>
            <pc:docMk/>
            <pc:sldMk cId="3739907698" sldId="275"/>
            <ac:spMk id="2385" creationId="{14DF9171-82D6-E3AC-9F33-5F2A724456A7}"/>
          </ac:spMkLst>
        </pc:spChg>
        <pc:spChg chg="mod">
          <ac:chgData name="Darius Kuddo" userId="da7555aa-d650-4d73-b00b-d01e713f1329" providerId="ADAL" clId="{9A4B509C-EEE7-485A-994E-5919214B754D}" dt="2025-02-20T01:51:45.199" v="2199"/>
          <ac:spMkLst>
            <pc:docMk/>
            <pc:sldMk cId="3739907698" sldId="275"/>
            <ac:spMk id="2386" creationId="{63EE417D-C4EE-33C9-E93F-22935AB12DE8}"/>
          </ac:spMkLst>
        </pc:spChg>
        <pc:spChg chg="mod">
          <ac:chgData name="Darius Kuddo" userId="da7555aa-d650-4d73-b00b-d01e713f1329" providerId="ADAL" clId="{9A4B509C-EEE7-485A-994E-5919214B754D}" dt="2025-02-20T01:51:45.199" v="2199"/>
          <ac:spMkLst>
            <pc:docMk/>
            <pc:sldMk cId="3739907698" sldId="275"/>
            <ac:spMk id="2387" creationId="{AA4D47B4-A524-5674-D772-3C9BFAD1E8BD}"/>
          </ac:spMkLst>
        </pc:spChg>
        <pc:spChg chg="mod">
          <ac:chgData name="Darius Kuddo" userId="da7555aa-d650-4d73-b00b-d01e713f1329" providerId="ADAL" clId="{9A4B509C-EEE7-485A-994E-5919214B754D}" dt="2025-02-20T01:51:45.199" v="2199"/>
          <ac:spMkLst>
            <pc:docMk/>
            <pc:sldMk cId="3739907698" sldId="275"/>
            <ac:spMk id="2388" creationId="{F9A96003-97E8-4035-8527-0CC3DC7CE5D0}"/>
          </ac:spMkLst>
        </pc:spChg>
        <pc:spChg chg="mod">
          <ac:chgData name="Darius Kuddo" userId="da7555aa-d650-4d73-b00b-d01e713f1329" providerId="ADAL" clId="{9A4B509C-EEE7-485A-994E-5919214B754D}" dt="2025-02-20T01:51:45.199" v="2199"/>
          <ac:spMkLst>
            <pc:docMk/>
            <pc:sldMk cId="3739907698" sldId="275"/>
            <ac:spMk id="2389" creationId="{49A7C921-3571-3DEC-DEC2-257CBC2637A0}"/>
          </ac:spMkLst>
        </pc:spChg>
        <pc:spChg chg="mod">
          <ac:chgData name="Darius Kuddo" userId="da7555aa-d650-4d73-b00b-d01e713f1329" providerId="ADAL" clId="{9A4B509C-EEE7-485A-994E-5919214B754D}" dt="2025-02-20T01:51:45.199" v="2199"/>
          <ac:spMkLst>
            <pc:docMk/>
            <pc:sldMk cId="3739907698" sldId="275"/>
            <ac:spMk id="2390" creationId="{1EBF5052-9306-2A3F-586B-7801316874AC}"/>
          </ac:spMkLst>
        </pc:spChg>
        <pc:spChg chg="mod">
          <ac:chgData name="Darius Kuddo" userId="da7555aa-d650-4d73-b00b-d01e713f1329" providerId="ADAL" clId="{9A4B509C-EEE7-485A-994E-5919214B754D}" dt="2025-02-20T01:51:45.199" v="2199"/>
          <ac:spMkLst>
            <pc:docMk/>
            <pc:sldMk cId="3739907698" sldId="275"/>
            <ac:spMk id="2395" creationId="{72A33D0E-27B3-5021-B7BE-0A74C00BD20E}"/>
          </ac:spMkLst>
        </pc:spChg>
        <pc:spChg chg="mod">
          <ac:chgData name="Darius Kuddo" userId="da7555aa-d650-4d73-b00b-d01e713f1329" providerId="ADAL" clId="{9A4B509C-EEE7-485A-994E-5919214B754D}" dt="2025-02-20T01:51:45.199" v="2199"/>
          <ac:spMkLst>
            <pc:docMk/>
            <pc:sldMk cId="3739907698" sldId="275"/>
            <ac:spMk id="2398" creationId="{59CB63EA-8593-B98A-7AA9-8A6257F1CB91}"/>
          </ac:spMkLst>
        </pc:spChg>
        <pc:spChg chg="mod">
          <ac:chgData name="Darius Kuddo" userId="da7555aa-d650-4d73-b00b-d01e713f1329" providerId="ADAL" clId="{9A4B509C-EEE7-485A-994E-5919214B754D}" dt="2025-02-20T01:51:45.199" v="2199"/>
          <ac:spMkLst>
            <pc:docMk/>
            <pc:sldMk cId="3739907698" sldId="275"/>
            <ac:spMk id="2399" creationId="{4A93F91C-C882-50B2-6F05-4669E227B315}"/>
          </ac:spMkLst>
        </pc:spChg>
        <pc:spChg chg="mod">
          <ac:chgData name="Darius Kuddo" userId="da7555aa-d650-4d73-b00b-d01e713f1329" providerId="ADAL" clId="{9A4B509C-EEE7-485A-994E-5919214B754D}" dt="2025-02-20T01:51:45.199" v="2199"/>
          <ac:spMkLst>
            <pc:docMk/>
            <pc:sldMk cId="3739907698" sldId="275"/>
            <ac:spMk id="2400" creationId="{1DC6462D-7AD0-3EB5-1C0B-0D620D6C7B60}"/>
          </ac:spMkLst>
        </pc:spChg>
        <pc:spChg chg="mod">
          <ac:chgData name="Darius Kuddo" userId="da7555aa-d650-4d73-b00b-d01e713f1329" providerId="ADAL" clId="{9A4B509C-EEE7-485A-994E-5919214B754D}" dt="2025-02-20T01:51:45.199" v="2199"/>
          <ac:spMkLst>
            <pc:docMk/>
            <pc:sldMk cId="3739907698" sldId="275"/>
            <ac:spMk id="2402" creationId="{37F055BE-B788-A202-F0E0-B9E13AB95BC8}"/>
          </ac:spMkLst>
        </pc:spChg>
        <pc:spChg chg="mod">
          <ac:chgData name="Darius Kuddo" userId="da7555aa-d650-4d73-b00b-d01e713f1329" providerId="ADAL" clId="{9A4B509C-EEE7-485A-994E-5919214B754D}" dt="2025-02-20T01:51:45.199" v="2199"/>
          <ac:spMkLst>
            <pc:docMk/>
            <pc:sldMk cId="3739907698" sldId="275"/>
            <ac:spMk id="2403" creationId="{F093DD35-25D7-9083-5995-923555A26022}"/>
          </ac:spMkLst>
        </pc:spChg>
        <pc:spChg chg="mod">
          <ac:chgData name="Darius Kuddo" userId="da7555aa-d650-4d73-b00b-d01e713f1329" providerId="ADAL" clId="{9A4B509C-EEE7-485A-994E-5919214B754D}" dt="2025-02-20T01:51:45.199" v="2199"/>
          <ac:spMkLst>
            <pc:docMk/>
            <pc:sldMk cId="3739907698" sldId="275"/>
            <ac:spMk id="2404" creationId="{2D6CFA97-DDA9-3B11-ED78-4F021F563F73}"/>
          </ac:spMkLst>
        </pc:spChg>
        <pc:spChg chg="del">
          <ac:chgData name="Darius Kuddo" userId="da7555aa-d650-4d73-b00b-d01e713f1329" providerId="ADAL" clId="{9A4B509C-EEE7-485A-994E-5919214B754D}" dt="2025-02-20T01:51:48.244" v="2200" actId="478"/>
          <ac:spMkLst>
            <pc:docMk/>
            <pc:sldMk cId="3739907698" sldId="275"/>
            <ac:spMk id="2405" creationId="{525D22C7-B97A-66A1-D2AF-61763D284C94}"/>
          </ac:spMkLst>
        </pc:spChg>
        <pc:spChg chg="mod">
          <ac:chgData name="Darius Kuddo" userId="da7555aa-d650-4d73-b00b-d01e713f1329" providerId="ADAL" clId="{9A4B509C-EEE7-485A-994E-5919214B754D}" dt="2025-02-20T01:51:45.199" v="2199"/>
          <ac:spMkLst>
            <pc:docMk/>
            <pc:sldMk cId="3739907698" sldId="275"/>
            <ac:spMk id="2406" creationId="{0A7603C9-23FD-4052-9C4D-1139D73064C8}"/>
          </ac:spMkLst>
        </pc:spChg>
        <pc:spChg chg="mod">
          <ac:chgData name="Darius Kuddo" userId="da7555aa-d650-4d73-b00b-d01e713f1329" providerId="ADAL" clId="{9A4B509C-EEE7-485A-994E-5919214B754D}" dt="2025-02-20T01:51:45.199" v="2199"/>
          <ac:spMkLst>
            <pc:docMk/>
            <pc:sldMk cId="3739907698" sldId="275"/>
            <ac:spMk id="2407" creationId="{F8FA63E9-2AC2-DEBB-29F7-6B99F554B128}"/>
          </ac:spMkLst>
        </pc:spChg>
        <pc:spChg chg="mod">
          <ac:chgData name="Darius Kuddo" userId="da7555aa-d650-4d73-b00b-d01e713f1329" providerId="ADAL" clId="{9A4B509C-EEE7-485A-994E-5919214B754D}" dt="2025-02-20T01:51:45.199" v="2199"/>
          <ac:spMkLst>
            <pc:docMk/>
            <pc:sldMk cId="3739907698" sldId="275"/>
            <ac:spMk id="2408" creationId="{32965664-14FD-B49A-C137-E3ED1D2324CF}"/>
          </ac:spMkLst>
        </pc:spChg>
        <pc:spChg chg="mod">
          <ac:chgData name="Darius Kuddo" userId="da7555aa-d650-4d73-b00b-d01e713f1329" providerId="ADAL" clId="{9A4B509C-EEE7-485A-994E-5919214B754D}" dt="2025-02-20T01:51:45.199" v="2199"/>
          <ac:spMkLst>
            <pc:docMk/>
            <pc:sldMk cId="3739907698" sldId="275"/>
            <ac:spMk id="2409" creationId="{E5349CFF-9328-D171-39A0-664650CDB3BB}"/>
          </ac:spMkLst>
        </pc:spChg>
        <pc:spChg chg="mod">
          <ac:chgData name="Darius Kuddo" userId="da7555aa-d650-4d73-b00b-d01e713f1329" providerId="ADAL" clId="{9A4B509C-EEE7-485A-994E-5919214B754D}" dt="2025-02-20T01:51:45.199" v="2199"/>
          <ac:spMkLst>
            <pc:docMk/>
            <pc:sldMk cId="3739907698" sldId="275"/>
            <ac:spMk id="2410" creationId="{4CA1ED94-C191-797F-B58D-8F8E42BD9326}"/>
          </ac:spMkLst>
        </pc:spChg>
        <pc:spChg chg="mod">
          <ac:chgData name="Darius Kuddo" userId="da7555aa-d650-4d73-b00b-d01e713f1329" providerId="ADAL" clId="{9A4B509C-EEE7-485A-994E-5919214B754D}" dt="2025-02-20T01:51:45.199" v="2199"/>
          <ac:spMkLst>
            <pc:docMk/>
            <pc:sldMk cId="3739907698" sldId="275"/>
            <ac:spMk id="2411" creationId="{78AF80B1-22D4-03E6-A3C9-F923FDB78D31}"/>
          </ac:spMkLst>
        </pc:spChg>
        <pc:spChg chg="mod">
          <ac:chgData name="Darius Kuddo" userId="da7555aa-d650-4d73-b00b-d01e713f1329" providerId="ADAL" clId="{9A4B509C-EEE7-485A-994E-5919214B754D}" dt="2025-02-20T01:51:45.199" v="2199"/>
          <ac:spMkLst>
            <pc:docMk/>
            <pc:sldMk cId="3739907698" sldId="275"/>
            <ac:spMk id="2412" creationId="{560DDF7E-5CBF-667E-30C7-86FEC2C25B98}"/>
          </ac:spMkLst>
        </pc:spChg>
        <pc:spChg chg="mod">
          <ac:chgData name="Darius Kuddo" userId="da7555aa-d650-4d73-b00b-d01e713f1329" providerId="ADAL" clId="{9A4B509C-EEE7-485A-994E-5919214B754D}" dt="2025-02-20T01:51:45.199" v="2199"/>
          <ac:spMkLst>
            <pc:docMk/>
            <pc:sldMk cId="3739907698" sldId="275"/>
            <ac:spMk id="2413" creationId="{04BD29E4-EA48-E2C6-EA8D-CA04EED05420}"/>
          </ac:spMkLst>
        </pc:spChg>
        <pc:spChg chg="mod">
          <ac:chgData name="Darius Kuddo" userId="da7555aa-d650-4d73-b00b-d01e713f1329" providerId="ADAL" clId="{9A4B509C-EEE7-485A-994E-5919214B754D}" dt="2025-02-20T01:51:45.199" v="2199"/>
          <ac:spMkLst>
            <pc:docMk/>
            <pc:sldMk cId="3739907698" sldId="275"/>
            <ac:spMk id="2414" creationId="{FDDEEE4F-FDAF-F19E-F823-C7705BB4D0CD}"/>
          </ac:spMkLst>
        </pc:spChg>
        <pc:spChg chg="mod">
          <ac:chgData name="Darius Kuddo" userId="da7555aa-d650-4d73-b00b-d01e713f1329" providerId="ADAL" clId="{9A4B509C-EEE7-485A-994E-5919214B754D}" dt="2025-02-20T01:51:45.199" v="2199"/>
          <ac:spMkLst>
            <pc:docMk/>
            <pc:sldMk cId="3739907698" sldId="275"/>
            <ac:spMk id="2415" creationId="{B2A915B3-3B37-8467-4D98-B24C794335B4}"/>
          </ac:spMkLst>
        </pc:spChg>
        <pc:spChg chg="mod">
          <ac:chgData name="Darius Kuddo" userId="da7555aa-d650-4d73-b00b-d01e713f1329" providerId="ADAL" clId="{9A4B509C-EEE7-485A-994E-5919214B754D}" dt="2025-02-20T01:51:45.199" v="2199"/>
          <ac:spMkLst>
            <pc:docMk/>
            <pc:sldMk cId="3739907698" sldId="275"/>
            <ac:spMk id="2416" creationId="{EEBB79BC-F0EC-3806-A1E2-9195ACA00968}"/>
          </ac:spMkLst>
        </pc:spChg>
        <pc:spChg chg="mod">
          <ac:chgData name="Darius Kuddo" userId="da7555aa-d650-4d73-b00b-d01e713f1329" providerId="ADAL" clId="{9A4B509C-EEE7-485A-994E-5919214B754D}" dt="2025-02-20T01:51:45.199" v="2199"/>
          <ac:spMkLst>
            <pc:docMk/>
            <pc:sldMk cId="3739907698" sldId="275"/>
            <ac:spMk id="2417" creationId="{BA1B8232-903F-DBDD-B859-76A903586A6E}"/>
          </ac:spMkLst>
        </pc:spChg>
        <pc:spChg chg="mod">
          <ac:chgData name="Darius Kuddo" userId="da7555aa-d650-4d73-b00b-d01e713f1329" providerId="ADAL" clId="{9A4B509C-EEE7-485A-994E-5919214B754D}" dt="2025-02-20T01:51:45.199" v="2199"/>
          <ac:spMkLst>
            <pc:docMk/>
            <pc:sldMk cId="3739907698" sldId="275"/>
            <ac:spMk id="2418" creationId="{2A58A7F1-BC50-0CBE-D33B-97FC0282719B}"/>
          </ac:spMkLst>
        </pc:spChg>
        <pc:spChg chg="del">
          <ac:chgData name="Darius Kuddo" userId="da7555aa-d650-4d73-b00b-d01e713f1329" providerId="ADAL" clId="{9A4B509C-EEE7-485A-994E-5919214B754D}" dt="2025-02-20T01:51:48.244" v="2200" actId="478"/>
          <ac:spMkLst>
            <pc:docMk/>
            <pc:sldMk cId="3739907698" sldId="275"/>
            <ac:spMk id="2419" creationId="{BA412197-13A8-A9C0-016E-017052C52BBA}"/>
          </ac:spMkLst>
        </pc:spChg>
        <pc:spChg chg="mod">
          <ac:chgData name="Darius Kuddo" userId="da7555aa-d650-4d73-b00b-d01e713f1329" providerId="ADAL" clId="{9A4B509C-EEE7-485A-994E-5919214B754D}" dt="2025-02-20T01:51:45.199" v="2199"/>
          <ac:spMkLst>
            <pc:docMk/>
            <pc:sldMk cId="3739907698" sldId="275"/>
            <ac:spMk id="2420" creationId="{BF54CBDA-B589-C1C7-3E82-0860DC6B23AC}"/>
          </ac:spMkLst>
        </pc:spChg>
        <pc:spChg chg="mod">
          <ac:chgData name="Darius Kuddo" userId="da7555aa-d650-4d73-b00b-d01e713f1329" providerId="ADAL" clId="{9A4B509C-EEE7-485A-994E-5919214B754D}" dt="2025-02-20T01:51:45.199" v="2199"/>
          <ac:spMkLst>
            <pc:docMk/>
            <pc:sldMk cId="3739907698" sldId="275"/>
            <ac:spMk id="2421" creationId="{965E3C0A-33F7-F234-28E3-7E937E89900F}"/>
          </ac:spMkLst>
        </pc:spChg>
        <pc:spChg chg="mod">
          <ac:chgData name="Darius Kuddo" userId="da7555aa-d650-4d73-b00b-d01e713f1329" providerId="ADAL" clId="{9A4B509C-EEE7-485A-994E-5919214B754D}" dt="2025-02-20T01:51:45.199" v="2199"/>
          <ac:spMkLst>
            <pc:docMk/>
            <pc:sldMk cId="3739907698" sldId="275"/>
            <ac:spMk id="2422" creationId="{BAF84579-9785-26DB-ACC7-E3A2CC0E1FA3}"/>
          </ac:spMkLst>
        </pc:spChg>
        <pc:spChg chg="del">
          <ac:chgData name="Darius Kuddo" userId="da7555aa-d650-4d73-b00b-d01e713f1329" providerId="ADAL" clId="{9A4B509C-EEE7-485A-994E-5919214B754D}" dt="2025-02-20T01:51:48.244" v="2200" actId="478"/>
          <ac:spMkLst>
            <pc:docMk/>
            <pc:sldMk cId="3739907698" sldId="275"/>
            <ac:spMk id="2425" creationId="{4C9612AC-9C4E-9A62-9972-F937F1F87447}"/>
          </ac:spMkLst>
        </pc:spChg>
        <pc:spChg chg="del">
          <ac:chgData name="Darius Kuddo" userId="da7555aa-d650-4d73-b00b-d01e713f1329" providerId="ADAL" clId="{9A4B509C-EEE7-485A-994E-5919214B754D}" dt="2025-02-20T01:51:48.244" v="2200" actId="478"/>
          <ac:spMkLst>
            <pc:docMk/>
            <pc:sldMk cId="3739907698" sldId="275"/>
            <ac:spMk id="2427" creationId="{7F2D8729-6A28-D5E2-4616-A508A8428EDE}"/>
          </ac:spMkLst>
        </pc:spChg>
        <pc:spChg chg="del">
          <ac:chgData name="Darius Kuddo" userId="da7555aa-d650-4d73-b00b-d01e713f1329" providerId="ADAL" clId="{9A4B509C-EEE7-485A-994E-5919214B754D}" dt="2025-02-20T01:51:48.244" v="2200" actId="478"/>
          <ac:spMkLst>
            <pc:docMk/>
            <pc:sldMk cId="3739907698" sldId="275"/>
            <ac:spMk id="2428" creationId="{26CE9FA3-6449-A7A1-EA4C-06CCEF3B6A5F}"/>
          </ac:spMkLst>
        </pc:spChg>
        <pc:spChg chg="mod">
          <ac:chgData name="Darius Kuddo" userId="da7555aa-d650-4d73-b00b-d01e713f1329" providerId="ADAL" clId="{9A4B509C-EEE7-485A-994E-5919214B754D}" dt="2025-02-20T01:51:45.199" v="2199"/>
          <ac:spMkLst>
            <pc:docMk/>
            <pc:sldMk cId="3739907698" sldId="275"/>
            <ac:spMk id="2432" creationId="{A3457384-3FBD-E6A5-1CC0-2545839C18F3}"/>
          </ac:spMkLst>
        </pc:spChg>
        <pc:spChg chg="mod">
          <ac:chgData name="Darius Kuddo" userId="da7555aa-d650-4d73-b00b-d01e713f1329" providerId="ADAL" clId="{9A4B509C-EEE7-485A-994E-5919214B754D}" dt="2025-02-20T01:51:45.199" v="2199"/>
          <ac:spMkLst>
            <pc:docMk/>
            <pc:sldMk cId="3739907698" sldId="275"/>
            <ac:spMk id="2433" creationId="{7FD97A18-AB61-756F-DE01-A02D34297D65}"/>
          </ac:spMkLst>
        </pc:spChg>
        <pc:spChg chg="mod">
          <ac:chgData name="Darius Kuddo" userId="da7555aa-d650-4d73-b00b-d01e713f1329" providerId="ADAL" clId="{9A4B509C-EEE7-485A-994E-5919214B754D}" dt="2025-02-20T01:51:45.199" v="2199"/>
          <ac:spMkLst>
            <pc:docMk/>
            <pc:sldMk cId="3739907698" sldId="275"/>
            <ac:spMk id="2434" creationId="{17EC66DB-B613-8D18-2B8B-915EE34E4644}"/>
          </ac:spMkLst>
        </pc:spChg>
        <pc:spChg chg="mod">
          <ac:chgData name="Darius Kuddo" userId="da7555aa-d650-4d73-b00b-d01e713f1329" providerId="ADAL" clId="{9A4B509C-EEE7-485A-994E-5919214B754D}" dt="2025-02-20T01:51:45.199" v="2199"/>
          <ac:spMkLst>
            <pc:docMk/>
            <pc:sldMk cId="3739907698" sldId="275"/>
            <ac:spMk id="2435" creationId="{42546926-CB28-C0EF-D128-A0B29DA4D5EC}"/>
          </ac:spMkLst>
        </pc:spChg>
        <pc:spChg chg="mod">
          <ac:chgData name="Darius Kuddo" userId="da7555aa-d650-4d73-b00b-d01e713f1329" providerId="ADAL" clId="{9A4B509C-EEE7-485A-994E-5919214B754D}" dt="2025-02-20T01:51:45.199" v="2199"/>
          <ac:spMkLst>
            <pc:docMk/>
            <pc:sldMk cId="3739907698" sldId="275"/>
            <ac:spMk id="2436" creationId="{2E424CAB-5C39-C68B-33F3-4811C6DFBA48}"/>
          </ac:spMkLst>
        </pc:spChg>
        <pc:spChg chg="mod">
          <ac:chgData name="Darius Kuddo" userId="da7555aa-d650-4d73-b00b-d01e713f1329" providerId="ADAL" clId="{9A4B509C-EEE7-485A-994E-5919214B754D}" dt="2025-02-20T01:51:45.199" v="2199"/>
          <ac:spMkLst>
            <pc:docMk/>
            <pc:sldMk cId="3739907698" sldId="275"/>
            <ac:spMk id="2437" creationId="{DD7982F0-640D-2E67-F9A4-630F7A7B2BF2}"/>
          </ac:spMkLst>
        </pc:spChg>
        <pc:spChg chg="mod">
          <ac:chgData name="Darius Kuddo" userId="da7555aa-d650-4d73-b00b-d01e713f1329" providerId="ADAL" clId="{9A4B509C-EEE7-485A-994E-5919214B754D}" dt="2025-02-20T01:51:45.199" v="2199"/>
          <ac:spMkLst>
            <pc:docMk/>
            <pc:sldMk cId="3739907698" sldId="275"/>
            <ac:spMk id="2438" creationId="{C41CB7FC-00AF-AD73-4F52-DAC27C1C150C}"/>
          </ac:spMkLst>
        </pc:spChg>
        <pc:spChg chg="mod">
          <ac:chgData name="Darius Kuddo" userId="da7555aa-d650-4d73-b00b-d01e713f1329" providerId="ADAL" clId="{9A4B509C-EEE7-485A-994E-5919214B754D}" dt="2025-02-20T01:51:45.199" v="2199"/>
          <ac:spMkLst>
            <pc:docMk/>
            <pc:sldMk cId="3739907698" sldId="275"/>
            <ac:spMk id="2439" creationId="{07F1A895-AACB-764A-13B3-47E16CDCAA60}"/>
          </ac:spMkLst>
        </pc:spChg>
        <pc:spChg chg="del">
          <ac:chgData name="Darius Kuddo" userId="da7555aa-d650-4d73-b00b-d01e713f1329" providerId="ADAL" clId="{9A4B509C-EEE7-485A-994E-5919214B754D}" dt="2025-02-20T01:51:48.244" v="2200" actId="478"/>
          <ac:spMkLst>
            <pc:docMk/>
            <pc:sldMk cId="3739907698" sldId="275"/>
            <ac:spMk id="2440" creationId="{06F0B81D-6563-6FA9-7EE5-7F8F7ABE7885}"/>
          </ac:spMkLst>
        </pc:spChg>
        <pc:spChg chg="del">
          <ac:chgData name="Darius Kuddo" userId="da7555aa-d650-4d73-b00b-d01e713f1329" providerId="ADAL" clId="{9A4B509C-EEE7-485A-994E-5919214B754D}" dt="2025-02-20T01:51:48.244" v="2200" actId="478"/>
          <ac:spMkLst>
            <pc:docMk/>
            <pc:sldMk cId="3739907698" sldId="275"/>
            <ac:spMk id="2441" creationId="{DA12211B-2030-73C1-14BB-DE3A027D82A1}"/>
          </ac:spMkLst>
        </pc:spChg>
        <pc:spChg chg="mod">
          <ac:chgData name="Darius Kuddo" userId="da7555aa-d650-4d73-b00b-d01e713f1329" providerId="ADAL" clId="{9A4B509C-EEE7-485A-994E-5919214B754D}" dt="2025-02-20T01:51:45.199" v="2199"/>
          <ac:spMkLst>
            <pc:docMk/>
            <pc:sldMk cId="3739907698" sldId="275"/>
            <ac:spMk id="2442" creationId="{ADB226A5-DB81-1C5A-8CE8-8C3E54029523}"/>
          </ac:spMkLst>
        </pc:spChg>
        <pc:spChg chg="mod">
          <ac:chgData name="Darius Kuddo" userId="da7555aa-d650-4d73-b00b-d01e713f1329" providerId="ADAL" clId="{9A4B509C-EEE7-485A-994E-5919214B754D}" dt="2025-02-20T01:51:45.199" v="2199"/>
          <ac:spMkLst>
            <pc:docMk/>
            <pc:sldMk cId="3739907698" sldId="275"/>
            <ac:spMk id="2443" creationId="{0D2929BA-E60B-3508-437A-4121736AA665}"/>
          </ac:spMkLst>
        </pc:spChg>
        <pc:spChg chg="mod">
          <ac:chgData name="Darius Kuddo" userId="da7555aa-d650-4d73-b00b-d01e713f1329" providerId="ADAL" clId="{9A4B509C-EEE7-485A-994E-5919214B754D}" dt="2025-02-20T01:51:45.199" v="2199"/>
          <ac:spMkLst>
            <pc:docMk/>
            <pc:sldMk cId="3739907698" sldId="275"/>
            <ac:spMk id="2444" creationId="{274F20A0-FDE4-E146-7180-B1440A02B8A7}"/>
          </ac:spMkLst>
        </pc:spChg>
        <pc:spChg chg="mod">
          <ac:chgData name="Darius Kuddo" userId="da7555aa-d650-4d73-b00b-d01e713f1329" providerId="ADAL" clId="{9A4B509C-EEE7-485A-994E-5919214B754D}" dt="2025-02-20T01:51:45.199" v="2199"/>
          <ac:spMkLst>
            <pc:docMk/>
            <pc:sldMk cId="3739907698" sldId="275"/>
            <ac:spMk id="2445" creationId="{502BA303-6DF2-4A1C-E8B3-66BDA0335CA9}"/>
          </ac:spMkLst>
        </pc:spChg>
        <pc:spChg chg="del">
          <ac:chgData name="Darius Kuddo" userId="da7555aa-d650-4d73-b00b-d01e713f1329" providerId="ADAL" clId="{9A4B509C-EEE7-485A-994E-5919214B754D}" dt="2025-02-20T01:51:48.244" v="2200" actId="478"/>
          <ac:spMkLst>
            <pc:docMk/>
            <pc:sldMk cId="3739907698" sldId="275"/>
            <ac:spMk id="2446" creationId="{2FA12B6D-C874-1E54-5B58-6CAEB7FB9EBF}"/>
          </ac:spMkLst>
        </pc:spChg>
        <pc:spChg chg="del">
          <ac:chgData name="Darius Kuddo" userId="da7555aa-d650-4d73-b00b-d01e713f1329" providerId="ADAL" clId="{9A4B509C-EEE7-485A-994E-5919214B754D}" dt="2025-02-20T01:51:48.244" v="2200" actId="478"/>
          <ac:spMkLst>
            <pc:docMk/>
            <pc:sldMk cId="3739907698" sldId="275"/>
            <ac:spMk id="2447" creationId="{1012F329-3D79-907F-7023-B9D14809D56D}"/>
          </ac:spMkLst>
        </pc:spChg>
        <pc:spChg chg="mod">
          <ac:chgData name="Darius Kuddo" userId="da7555aa-d650-4d73-b00b-d01e713f1329" providerId="ADAL" clId="{9A4B509C-EEE7-485A-994E-5919214B754D}" dt="2025-02-20T01:51:45.199" v="2199"/>
          <ac:spMkLst>
            <pc:docMk/>
            <pc:sldMk cId="3739907698" sldId="275"/>
            <ac:spMk id="2448" creationId="{33405CB0-7368-A006-FDFD-273A2A0E8CA2}"/>
          </ac:spMkLst>
        </pc:spChg>
        <pc:spChg chg="del">
          <ac:chgData name="Darius Kuddo" userId="da7555aa-d650-4d73-b00b-d01e713f1329" providerId="ADAL" clId="{9A4B509C-EEE7-485A-994E-5919214B754D}" dt="2025-02-20T01:51:48.244" v="2200" actId="478"/>
          <ac:spMkLst>
            <pc:docMk/>
            <pc:sldMk cId="3739907698" sldId="275"/>
            <ac:spMk id="2449" creationId="{0DB63815-B7DA-4EAD-763F-1B44E251517C}"/>
          </ac:spMkLst>
        </pc:spChg>
        <pc:spChg chg="del">
          <ac:chgData name="Darius Kuddo" userId="da7555aa-d650-4d73-b00b-d01e713f1329" providerId="ADAL" clId="{9A4B509C-EEE7-485A-994E-5919214B754D}" dt="2025-02-20T01:51:48.244" v="2200" actId="478"/>
          <ac:spMkLst>
            <pc:docMk/>
            <pc:sldMk cId="3739907698" sldId="275"/>
            <ac:spMk id="2450" creationId="{4F17BBDF-067B-BCEC-CB18-C0C507132C77}"/>
          </ac:spMkLst>
        </pc:spChg>
        <pc:spChg chg="del">
          <ac:chgData name="Darius Kuddo" userId="da7555aa-d650-4d73-b00b-d01e713f1329" providerId="ADAL" clId="{9A4B509C-EEE7-485A-994E-5919214B754D}" dt="2025-02-20T01:51:48.244" v="2200" actId="478"/>
          <ac:spMkLst>
            <pc:docMk/>
            <pc:sldMk cId="3739907698" sldId="275"/>
            <ac:spMk id="2452" creationId="{E9B1CA23-DE52-9A07-A2E3-62E7A9C8F9D0}"/>
          </ac:spMkLst>
        </pc:spChg>
        <pc:spChg chg="del">
          <ac:chgData name="Darius Kuddo" userId="da7555aa-d650-4d73-b00b-d01e713f1329" providerId="ADAL" clId="{9A4B509C-EEE7-485A-994E-5919214B754D}" dt="2025-02-20T01:51:48.244" v="2200" actId="478"/>
          <ac:spMkLst>
            <pc:docMk/>
            <pc:sldMk cId="3739907698" sldId="275"/>
            <ac:spMk id="2453" creationId="{08FED9F5-09B8-767E-B54D-46E76EBE1F75}"/>
          </ac:spMkLst>
        </pc:spChg>
        <pc:spChg chg="del">
          <ac:chgData name="Darius Kuddo" userId="da7555aa-d650-4d73-b00b-d01e713f1329" providerId="ADAL" clId="{9A4B509C-EEE7-485A-994E-5919214B754D}" dt="2025-02-20T01:51:48.244" v="2200" actId="478"/>
          <ac:spMkLst>
            <pc:docMk/>
            <pc:sldMk cId="3739907698" sldId="275"/>
            <ac:spMk id="2454" creationId="{CE03062E-F49E-EC2C-829A-EC861FB0D869}"/>
          </ac:spMkLst>
        </pc:spChg>
        <pc:spChg chg="del">
          <ac:chgData name="Darius Kuddo" userId="da7555aa-d650-4d73-b00b-d01e713f1329" providerId="ADAL" clId="{9A4B509C-EEE7-485A-994E-5919214B754D}" dt="2025-02-20T01:51:48.244" v="2200" actId="478"/>
          <ac:spMkLst>
            <pc:docMk/>
            <pc:sldMk cId="3739907698" sldId="275"/>
            <ac:spMk id="2455" creationId="{410A2069-4CD8-0A50-B2C1-2F99D23265D8}"/>
          </ac:spMkLst>
        </pc:spChg>
        <pc:spChg chg="del">
          <ac:chgData name="Darius Kuddo" userId="da7555aa-d650-4d73-b00b-d01e713f1329" providerId="ADAL" clId="{9A4B509C-EEE7-485A-994E-5919214B754D}" dt="2025-02-20T01:51:48.244" v="2200" actId="478"/>
          <ac:spMkLst>
            <pc:docMk/>
            <pc:sldMk cId="3739907698" sldId="275"/>
            <ac:spMk id="2456" creationId="{953E51E9-FD2A-55F6-C3B6-196C3B8DA8C1}"/>
          </ac:spMkLst>
        </pc:spChg>
        <pc:spChg chg="del">
          <ac:chgData name="Darius Kuddo" userId="da7555aa-d650-4d73-b00b-d01e713f1329" providerId="ADAL" clId="{9A4B509C-EEE7-485A-994E-5919214B754D}" dt="2025-02-20T01:51:48.244" v="2200" actId="478"/>
          <ac:spMkLst>
            <pc:docMk/>
            <pc:sldMk cId="3739907698" sldId="275"/>
            <ac:spMk id="2458" creationId="{8DF73BE8-B0C5-6456-9891-0EDF7122015C}"/>
          </ac:spMkLst>
        </pc:spChg>
        <pc:spChg chg="del">
          <ac:chgData name="Darius Kuddo" userId="da7555aa-d650-4d73-b00b-d01e713f1329" providerId="ADAL" clId="{9A4B509C-EEE7-485A-994E-5919214B754D}" dt="2025-02-20T01:51:48.244" v="2200" actId="478"/>
          <ac:spMkLst>
            <pc:docMk/>
            <pc:sldMk cId="3739907698" sldId="275"/>
            <ac:spMk id="2459" creationId="{45C163C5-D749-9E4E-7EF0-6E82241CBAD4}"/>
          </ac:spMkLst>
        </pc:spChg>
        <pc:spChg chg="del">
          <ac:chgData name="Darius Kuddo" userId="da7555aa-d650-4d73-b00b-d01e713f1329" providerId="ADAL" clId="{9A4B509C-EEE7-485A-994E-5919214B754D}" dt="2025-02-20T01:51:48.244" v="2200" actId="478"/>
          <ac:spMkLst>
            <pc:docMk/>
            <pc:sldMk cId="3739907698" sldId="275"/>
            <ac:spMk id="2460" creationId="{43E5746C-E0C5-0D0E-DC81-6E582A7BB626}"/>
          </ac:spMkLst>
        </pc:spChg>
        <pc:spChg chg="del">
          <ac:chgData name="Darius Kuddo" userId="da7555aa-d650-4d73-b00b-d01e713f1329" providerId="ADAL" clId="{9A4B509C-EEE7-485A-994E-5919214B754D}" dt="2025-02-20T01:51:48.244" v="2200" actId="478"/>
          <ac:spMkLst>
            <pc:docMk/>
            <pc:sldMk cId="3739907698" sldId="275"/>
            <ac:spMk id="2461" creationId="{05D0EBA0-AE7D-42F5-DA18-30BF8E951C60}"/>
          </ac:spMkLst>
        </pc:spChg>
        <pc:spChg chg="del">
          <ac:chgData name="Darius Kuddo" userId="da7555aa-d650-4d73-b00b-d01e713f1329" providerId="ADAL" clId="{9A4B509C-EEE7-485A-994E-5919214B754D}" dt="2025-02-20T01:51:48.244" v="2200" actId="478"/>
          <ac:spMkLst>
            <pc:docMk/>
            <pc:sldMk cId="3739907698" sldId="275"/>
            <ac:spMk id="2462" creationId="{3CB88B2F-73B4-FC50-DC0A-B7460075C356}"/>
          </ac:spMkLst>
        </pc:spChg>
        <pc:spChg chg="mod">
          <ac:chgData name="Darius Kuddo" userId="da7555aa-d650-4d73-b00b-d01e713f1329" providerId="ADAL" clId="{9A4B509C-EEE7-485A-994E-5919214B754D}" dt="2025-02-20T01:51:45.199" v="2199"/>
          <ac:spMkLst>
            <pc:docMk/>
            <pc:sldMk cId="3739907698" sldId="275"/>
            <ac:spMk id="2463" creationId="{FA1CC0AE-3CF6-044E-AA08-3FE81117747B}"/>
          </ac:spMkLst>
        </pc:spChg>
        <pc:spChg chg="mod">
          <ac:chgData name="Darius Kuddo" userId="da7555aa-d650-4d73-b00b-d01e713f1329" providerId="ADAL" clId="{9A4B509C-EEE7-485A-994E-5919214B754D}" dt="2025-02-20T01:51:45.199" v="2199"/>
          <ac:spMkLst>
            <pc:docMk/>
            <pc:sldMk cId="3739907698" sldId="275"/>
            <ac:spMk id="2464" creationId="{5E367A56-349E-607C-838C-DE24A3468B0A}"/>
          </ac:spMkLst>
        </pc:spChg>
        <pc:spChg chg="mod">
          <ac:chgData name="Darius Kuddo" userId="da7555aa-d650-4d73-b00b-d01e713f1329" providerId="ADAL" clId="{9A4B509C-EEE7-485A-994E-5919214B754D}" dt="2025-02-20T01:51:45.199" v="2199"/>
          <ac:spMkLst>
            <pc:docMk/>
            <pc:sldMk cId="3739907698" sldId="275"/>
            <ac:spMk id="2465" creationId="{E7A7F975-1D24-3D9A-3540-9433BD94D0E3}"/>
          </ac:spMkLst>
        </pc:spChg>
        <pc:spChg chg="mod">
          <ac:chgData name="Darius Kuddo" userId="da7555aa-d650-4d73-b00b-d01e713f1329" providerId="ADAL" clId="{9A4B509C-EEE7-485A-994E-5919214B754D}" dt="2025-02-20T01:51:45.199" v="2199"/>
          <ac:spMkLst>
            <pc:docMk/>
            <pc:sldMk cId="3739907698" sldId="275"/>
            <ac:spMk id="2466" creationId="{C7630C61-B18D-4FF7-53CF-FAF078FA5B92}"/>
          </ac:spMkLst>
        </pc:spChg>
        <pc:spChg chg="mod">
          <ac:chgData name="Darius Kuddo" userId="da7555aa-d650-4d73-b00b-d01e713f1329" providerId="ADAL" clId="{9A4B509C-EEE7-485A-994E-5919214B754D}" dt="2025-02-20T01:51:45.199" v="2199"/>
          <ac:spMkLst>
            <pc:docMk/>
            <pc:sldMk cId="3739907698" sldId="275"/>
            <ac:spMk id="2467" creationId="{32EA5606-734F-994C-8E43-5D092CAEE985}"/>
          </ac:spMkLst>
        </pc:spChg>
        <pc:spChg chg="mod">
          <ac:chgData name="Darius Kuddo" userId="da7555aa-d650-4d73-b00b-d01e713f1329" providerId="ADAL" clId="{9A4B509C-EEE7-485A-994E-5919214B754D}" dt="2025-02-20T01:51:45.199" v="2199"/>
          <ac:spMkLst>
            <pc:docMk/>
            <pc:sldMk cId="3739907698" sldId="275"/>
            <ac:spMk id="2468" creationId="{70DFE475-FF3F-C248-8B41-BC52274A2BA6}"/>
          </ac:spMkLst>
        </pc:spChg>
        <pc:spChg chg="mod">
          <ac:chgData name="Darius Kuddo" userId="da7555aa-d650-4d73-b00b-d01e713f1329" providerId="ADAL" clId="{9A4B509C-EEE7-485A-994E-5919214B754D}" dt="2025-02-20T01:51:45.199" v="2199"/>
          <ac:spMkLst>
            <pc:docMk/>
            <pc:sldMk cId="3739907698" sldId="275"/>
            <ac:spMk id="2469" creationId="{BF63E539-56A1-0C99-32BD-569514D2E4A4}"/>
          </ac:spMkLst>
        </pc:spChg>
        <pc:spChg chg="mod">
          <ac:chgData name="Darius Kuddo" userId="da7555aa-d650-4d73-b00b-d01e713f1329" providerId="ADAL" clId="{9A4B509C-EEE7-485A-994E-5919214B754D}" dt="2025-02-20T01:51:45.199" v="2199"/>
          <ac:spMkLst>
            <pc:docMk/>
            <pc:sldMk cId="3739907698" sldId="275"/>
            <ac:spMk id="2470" creationId="{3F751762-C106-0771-4E94-FB72D597F5AB}"/>
          </ac:spMkLst>
        </pc:spChg>
        <pc:spChg chg="add mod">
          <ac:chgData name="Darius Kuddo" userId="da7555aa-d650-4d73-b00b-d01e713f1329" providerId="ADAL" clId="{9A4B509C-EEE7-485A-994E-5919214B754D}" dt="2025-02-20T01:51:49.529" v="2201"/>
          <ac:spMkLst>
            <pc:docMk/>
            <pc:sldMk cId="3739907698" sldId="275"/>
            <ac:spMk id="2471" creationId="{7C256C74-2C1C-AB18-CFBA-903F000C2C60}"/>
          </ac:spMkLst>
        </pc:spChg>
        <pc:spChg chg="add mod">
          <ac:chgData name="Darius Kuddo" userId="da7555aa-d650-4d73-b00b-d01e713f1329" providerId="ADAL" clId="{9A4B509C-EEE7-485A-994E-5919214B754D}" dt="2025-02-20T01:51:49.529" v="2201"/>
          <ac:spMkLst>
            <pc:docMk/>
            <pc:sldMk cId="3739907698" sldId="275"/>
            <ac:spMk id="2472" creationId="{906F33F3-5289-9B24-88C9-488CB98D091B}"/>
          </ac:spMkLst>
        </pc:spChg>
        <pc:spChg chg="add mod">
          <ac:chgData name="Darius Kuddo" userId="da7555aa-d650-4d73-b00b-d01e713f1329" providerId="ADAL" clId="{9A4B509C-EEE7-485A-994E-5919214B754D}" dt="2025-02-20T01:51:49.529" v="2201"/>
          <ac:spMkLst>
            <pc:docMk/>
            <pc:sldMk cId="3739907698" sldId="275"/>
            <ac:spMk id="2473" creationId="{C799908D-88AD-6380-09CB-19EE122B3001}"/>
          </ac:spMkLst>
        </pc:spChg>
        <pc:spChg chg="mod">
          <ac:chgData name="Darius Kuddo" userId="da7555aa-d650-4d73-b00b-d01e713f1329" providerId="ADAL" clId="{9A4B509C-EEE7-485A-994E-5919214B754D}" dt="2025-02-20T01:51:49.529" v="2201"/>
          <ac:spMkLst>
            <pc:docMk/>
            <pc:sldMk cId="3739907698" sldId="275"/>
            <ac:spMk id="2475" creationId="{FE601022-675E-6E1C-7DC2-80E5ECEE79B2}"/>
          </ac:spMkLst>
        </pc:spChg>
        <pc:spChg chg="mod">
          <ac:chgData name="Darius Kuddo" userId="da7555aa-d650-4d73-b00b-d01e713f1329" providerId="ADAL" clId="{9A4B509C-EEE7-485A-994E-5919214B754D}" dt="2025-02-20T01:51:49.529" v="2201"/>
          <ac:spMkLst>
            <pc:docMk/>
            <pc:sldMk cId="3739907698" sldId="275"/>
            <ac:spMk id="2476" creationId="{05F7E35D-7E0A-584D-3E7F-B3E8411C8232}"/>
          </ac:spMkLst>
        </pc:spChg>
        <pc:spChg chg="mod">
          <ac:chgData name="Darius Kuddo" userId="da7555aa-d650-4d73-b00b-d01e713f1329" providerId="ADAL" clId="{9A4B509C-EEE7-485A-994E-5919214B754D}" dt="2025-02-20T01:51:49.529" v="2201"/>
          <ac:spMkLst>
            <pc:docMk/>
            <pc:sldMk cId="3739907698" sldId="275"/>
            <ac:spMk id="2477" creationId="{4A2E4458-5174-B433-DB00-52FE22EFA125}"/>
          </ac:spMkLst>
        </pc:spChg>
        <pc:spChg chg="mod">
          <ac:chgData name="Darius Kuddo" userId="da7555aa-d650-4d73-b00b-d01e713f1329" providerId="ADAL" clId="{9A4B509C-EEE7-485A-994E-5919214B754D}" dt="2025-02-20T01:51:49.529" v="2201"/>
          <ac:spMkLst>
            <pc:docMk/>
            <pc:sldMk cId="3739907698" sldId="275"/>
            <ac:spMk id="2478" creationId="{01657170-B78B-C801-340F-D262A8FC1082}"/>
          </ac:spMkLst>
        </pc:spChg>
        <pc:spChg chg="mod">
          <ac:chgData name="Darius Kuddo" userId="da7555aa-d650-4d73-b00b-d01e713f1329" providerId="ADAL" clId="{9A4B509C-EEE7-485A-994E-5919214B754D}" dt="2025-02-20T01:51:49.529" v="2201"/>
          <ac:spMkLst>
            <pc:docMk/>
            <pc:sldMk cId="3739907698" sldId="275"/>
            <ac:spMk id="2479" creationId="{C99B7445-80BF-BB96-C523-A6C7B2141867}"/>
          </ac:spMkLst>
        </pc:spChg>
        <pc:spChg chg="mod">
          <ac:chgData name="Darius Kuddo" userId="da7555aa-d650-4d73-b00b-d01e713f1329" providerId="ADAL" clId="{9A4B509C-EEE7-485A-994E-5919214B754D}" dt="2025-02-20T01:51:49.529" v="2201"/>
          <ac:spMkLst>
            <pc:docMk/>
            <pc:sldMk cId="3739907698" sldId="275"/>
            <ac:spMk id="2483" creationId="{787491D0-5C16-A627-4570-EDF334DBF6AB}"/>
          </ac:spMkLst>
        </pc:spChg>
        <pc:spChg chg="mod">
          <ac:chgData name="Darius Kuddo" userId="da7555aa-d650-4d73-b00b-d01e713f1329" providerId="ADAL" clId="{9A4B509C-EEE7-485A-994E-5919214B754D}" dt="2025-02-20T01:51:49.529" v="2201"/>
          <ac:spMkLst>
            <pc:docMk/>
            <pc:sldMk cId="3739907698" sldId="275"/>
            <ac:spMk id="2484" creationId="{D2E5C306-4A7C-8853-CB1C-02EDA5EA5A0F}"/>
          </ac:spMkLst>
        </pc:spChg>
        <pc:spChg chg="mod">
          <ac:chgData name="Darius Kuddo" userId="da7555aa-d650-4d73-b00b-d01e713f1329" providerId="ADAL" clId="{9A4B509C-EEE7-485A-994E-5919214B754D}" dt="2025-02-20T01:51:49.529" v="2201"/>
          <ac:spMkLst>
            <pc:docMk/>
            <pc:sldMk cId="3739907698" sldId="275"/>
            <ac:spMk id="2485" creationId="{8F201947-A89D-CB75-A169-BC213E0B97A4}"/>
          </ac:spMkLst>
        </pc:spChg>
        <pc:spChg chg="mod">
          <ac:chgData name="Darius Kuddo" userId="da7555aa-d650-4d73-b00b-d01e713f1329" providerId="ADAL" clId="{9A4B509C-EEE7-485A-994E-5919214B754D}" dt="2025-02-20T01:51:49.529" v="2201"/>
          <ac:spMkLst>
            <pc:docMk/>
            <pc:sldMk cId="3739907698" sldId="275"/>
            <ac:spMk id="2486" creationId="{5A6C6683-EFF0-8195-DAA6-E962CF10803F}"/>
          </ac:spMkLst>
        </pc:spChg>
        <pc:spChg chg="add mod">
          <ac:chgData name="Darius Kuddo" userId="da7555aa-d650-4d73-b00b-d01e713f1329" providerId="ADAL" clId="{9A4B509C-EEE7-485A-994E-5919214B754D}" dt="2025-02-20T01:51:49.529" v="2201"/>
          <ac:spMkLst>
            <pc:docMk/>
            <pc:sldMk cId="3739907698" sldId="275"/>
            <ac:spMk id="2489" creationId="{E1620CCE-1EB4-5EAA-92D3-D63EFCFFC692}"/>
          </ac:spMkLst>
        </pc:spChg>
        <pc:spChg chg="add mod">
          <ac:chgData name="Darius Kuddo" userId="da7555aa-d650-4d73-b00b-d01e713f1329" providerId="ADAL" clId="{9A4B509C-EEE7-485A-994E-5919214B754D}" dt="2025-02-20T01:51:49.529" v="2201"/>
          <ac:spMkLst>
            <pc:docMk/>
            <pc:sldMk cId="3739907698" sldId="275"/>
            <ac:spMk id="2490" creationId="{48495551-1FD7-A43C-B933-3C0C01CDCDE9}"/>
          </ac:spMkLst>
        </pc:spChg>
        <pc:spChg chg="add mod">
          <ac:chgData name="Darius Kuddo" userId="da7555aa-d650-4d73-b00b-d01e713f1329" providerId="ADAL" clId="{9A4B509C-EEE7-485A-994E-5919214B754D}" dt="2025-02-20T01:51:49.529" v="2201"/>
          <ac:spMkLst>
            <pc:docMk/>
            <pc:sldMk cId="3739907698" sldId="275"/>
            <ac:spMk id="2491" creationId="{CE4653EC-AC33-D8B4-7708-8E70C8E3DEF2}"/>
          </ac:spMkLst>
        </pc:spChg>
        <pc:spChg chg="add mod">
          <ac:chgData name="Darius Kuddo" userId="da7555aa-d650-4d73-b00b-d01e713f1329" providerId="ADAL" clId="{9A4B509C-EEE7-485A-994E-5919214B754D}" dt="2025-02-20T01:51:49.529" v="2201"/>
          <ac:spMkLst>
            <pc:docMk/>
            <pc:sldMk cId="3739907698" sldId="275"/>
            <ac:spMk id="2492" creationId="{5DC18EDB-0589-61E3-876B-EAAF58A9B29B}"/>
          </ac:spMkLst>
        </pc:spChg>
        <pc:spChg chg="mod">
          <ac:chgData name="Darius Kuddo" userId="da7555aa-d650-4d73-b00b-d01e713f1329" providerId="ADAL" clId="{9A4B509C-EEE7-485A-994E-5919214B754D}" dt="2025-02-20T01:51:49.529" v="2201"/>
          <ac:spMkLst>
            <pc:docMk/>
            <pc:sldMk cId="3739907698" sldId="275"/>
            <ac:spMk id="2495" creationId="{4F04A5F8-4608-3FC8-5094-8C9008B2891C}"/>
          </ac:spMkLst>
        </pc:spChg>
        <pc:grpChg chg="add mod">
          <ac:chgData name="Darius Kuddo" userId="da7555aa-d650-4d73-b00b-d01e713f1329" providerId="ADAL" clId="{9A4B509C-EEE7-485A-994E-5919214B754D}" dt="2025-02-20T01:42:19.357" v="2015" actId="1076"/>
          <ac:grpSpMkLst>
            <pc:docMk/>
            <pc:sldMk cId="3739907698" sldId="275"/>
            <ac:grpSpMk id="3" creationId="{E7306898-5D64-3FC9-92AF-ED74EBDC6DCC}"/>
          </ac:grpSpMkLst>
        </pc:grpChg>
        <pc:grpChg chg="del">
          <ac:chgData name="Darius Kuddo" userId="da7555aa-d650-4d73-b00b-d01e713f1329" providerId="ADAL" clId="{9A4B509C-EEE7-485A-994E-5919214B754D}" dt="2025-02-20T01:51:48.244" v="2200" actId="478"/>
          <ac:grpSpMkLst>
            <pc:docMk/>
            <pc:sldMk cId="3739907698" sldId="275"/>
            <ac:grpSpMk id="12" creationId="{C0B4DCED-A71B-B166-DE72-C81AC5C33A23}"/>
          </ac:grpSpMkLst>
        </pc:grpChg>
        <pc:grpChg chg="del">
          <ac:chgData name="Darius Kuddo" userId="da7555aa-d650-4d73-b00b-d01e713f1329" providerId="ADAL" clId="{9A4B509C-EEE7-485A-994E-5919214B754D}" dt="2025-02-20T01:51:48.244" v="2200" actId="478"/>
          <ac:grpSpMkLst>
            <pc:docMk/>
            <pc:sldMk cId="3739907698" sldId="275"/>
            <ac:grpSpMk id="14" creationId="{A3A2F935-F698-87EC-F62C-8BFAE5AABE72}"/>
          </ac:grpSpMkLst>
        </pc:grpChg>
        <pc:grpChg chg="add mod">
          <ac:chgData name="Darius Kuddo" userId="da7555aa-d650-4d73-b00b-d01e713f1329" providerId="ADAL" clId="{9A4B509C-EEE7-485A-994E-5919214B754D}" dt="2025-02-20T01:51:45.199" v="2199"/>
          <ac:grpSpMkLst>
            <pc:docMk/>
            <pc:sldMk cId="3739907698" sldId="275"/>
            <ac:grpSpMk id="24" creationId="{03078C2D-F38F-4525-04A0-18B9CFBE9EF9}"/>
          </ac:grpSpMkLst>
        </pc:grpChg>
        <pc:grpChg chg="add mod">
          <ac:chgData name="Darius Kuddo" userId="da7555aa-d650-4d73-b00b-d01e713f1329" providerId="ADAL" clId="{9A4B509C-EEE7-485A-994E-5919214B754D}" dt="2025-02-20T01:51:45.199" v="2199"/>
          <ac:grpSpMkLst>
            <pc:docMk/>
            <pc:sldMk cId="3739907698" sldId="275"/>
            <ac:grpSpMk id="33" creationId="{9079F750-F401-D1BC-5656-A2647616C7C7}"/>
          </ac:grpSpMkLst>
        </pc:grpChg>
        <pc:grpChg chg="add mod">
          <ac:chgData name="Darius Kuddo" userId="da7555aa-d650-4d73-b00b-d01e713f1329" providerId="ADAL" clId="{9A4B509C-EEE7-485A-994E-5919214B754D}" dt="2025-02-20T01:51:45.199" v="2199"/>
          <ac:grpSpMkLst>
            <pc:docMk/>
            <pc:sldMk cId="3739907698" sldId="275"/>
            <ac:grpSpMk id="93" creationId="{3777C4D6-DEE7-B136-1A96-0F22AA1B6318}"/>
          </ac:grpSpMkLst>
        </pc:grpChg>
        <pc:grpChg chg="add mod">
          <ac:chgData name="Darius Kuddo" userId="da7555aa-d650-4d73-b00b-d01e713f1329" providerId="ADAL" clId="{9A4B509C-EEE7-485A-994E-5919214B754D}" dt="2025-02-20T01:51:49.529" v="2201"/>
          <ac:grpSpMkLst>
            <pc:docMk/>
            <pc:sldMk cId="3739907698" sldId="275"/>
            <ac:grpSpMk id="196" creationId="{1BA52A85-71B3-2E8B-6CB4-A5F46E63EE3F}"/>
          </ac:grpSpMkLst>
        </pc:grpChg>
        <pc:grpChg chg="add mod">
          <ac:chgData name="Darius Kuddo" userId="da7555aa-d650-4d73-b00b-d01e713f1329" providerId="ADAL" clId="{9A4B509C-EEE7-485A-994E-5919214B754D}" dt="2025-02-20T01:51:49.529" v="2201"/>
          <ac:grpSpMkLst>
            <pc:docMk/>
            <pc:sldMk cId="3739907698" sldId="275"/>
            <ac:grpSpMk id="244" creationId="{25793721-0B57-DFE1-21FB-40FBB8498894}"/>
          </ac:grpSpMkLst>
        </pc:grpChg>
        <pc:grpChg chg="add mod">
          <ac:chgData name="Darius Kuddo" userId="da7555aa-d650-4d73-b00b-d01e713f1329" providerId="ADAL" clId="{9A4B509C-EEE7-485A-994E-5919214B754D}" dt="2025-02-20T01:51:49.529" v="2201"/>
          <ac:grpSpMkLst>
            <pc:docMk/>
            <pc:sldMk cId="3739907698" sldId="275"/>
            <ac:grpSpMk id="252" creationId="{D8FA6386-29CA-0458-9FE6-8CC1524B9DB2}"/>
          </ac:grpSpMkLst>
        </pc:grpChg>
        <pc:grpChg chg="mod">
          <ac:chgData name="Darius Kuddo" userId="da7555aa-d650-4d73-b00b-d01e713f1329" providerId="ADAL" clId="{9A4B509C-EEE7-485A-994E-5919214B754D}" dt="2025-02-20T01:51:49.529" v="2201"/>
          <ac:grpSpMkLst>
            <pc:docMk/>
            <pc:sldMk cId="3739907698" sldId="275"/>
            <ac:grpSpMk id="253" creationId="{9181C40D-9C1F-5AAD-3FEF-86FA3084AF2E}"/>
          </ac:grpSpMkLst>
        </pc:grpChg>
        <pc:grpChg chg="mod">
          <ac:chgData name="Darius Kuddo" userId="da7555aa-d650-4d73-b00b-d01e713f1329" providerId="ADAL" clId="{9A4B509C-EEE7-485A-994E-5919214B754D}" dt="2025-02-20T01:51:49.529" v="2201"/>
          <ac:grpSpMkLst>
            <pc:docMk/>
            <pc:sldMk cId="3739907698" sldId="275"/>
            <ac:grpSpMk id="254" creationId="{6BD00096-4C5D-7236-6714-19CF3EEB7787}"/>
          </ac:grpSpMkLst>
        </pc:grpChg>
        <pc:grpChg chg="add mod">
          <ac:chgData name="Darius Kuddo" userId="da7555aa-d650-4d73-b00b-d01e713f1329" providerId="ADAL" clId="{9A4B509C-EEE7-485A-994E-5919214B754D}" dt="2025-02-20T01:51:49.529" v="2201"/>
          <ac:grpSpMkLst>
            <pc:docMk/>
            <pc:sldMk cId="3739907698" sldId="275"/>
            <ac:grpSpMk id="257" creationId="{23AA158F-BD62-019E-A9B8-39815164EC99}"/>
          </ac:grpSpMkLst>
        </pc:grpChg>
        <pc:grpChg chg="add mod">
          <ac:chgData name="Darius Kuddo" userId="da7555aa-d650-4d73-b00b-d01e713f1329" providerId="ADAL" clId="{9A4B509C-EEE7-485A-994E-5919214B754D}" dt="2025-02-20T01:51:49.529" v="2201"/>
          <ac:grpSpMkLst>
            <pc:docMk/>
            <pc:sldMk cId="3739907698" sldId="275"/>
            <ac:grpSpMk id="281" creationId="{F22D9EB4-72C3-06A5-ED8B-83F491AB2223}"/>
          </ac:grpSpMkLst>
        </pc:grpChg>
        <pc:grpChg chg="add mod">
          <ac:chgData name="Darius Kuddo" userId="da7555aa-d650-4d73-b00b-d01e713f1329" providerId="ADAL" clId="{9A4B509C-EEE7-485A-994E-5919214B754D}" dt="2025-02-20T01:51:49.529" v="2201"/>
          <ac:grpSpMkLst>
            <pc:docMk/>
            <pc:sldMk cId="3739907698" sldId="275"/>
            <ac:grpSpMk id="307" creationId="{CAEE8602-C7AF-4F4B-9DB6-8100DED0F0CD}"/>
          </ac:grpSpMkLst>
        </pc:grpChg>
        <pc:grpChg chg="mod">
          <ac:chgData name="Darius Kuddo" userId="da7555aa-d650-4d73-b00b-d01e713f1329" providerId="ADAL" clId="{9A4B509C-EEE7-485A-994E-5919214B754D}" dt="2025-02-20T01:51:49.529" v="2201"/>
          <ac:grpSpMkLst>
            <pc:docMk/>
            <pc:sldMk cId="3739907698" sldId="275"/>
            <ac:grpSpMk id="308" creationId="{D2E98631-055A-690A-F069-90781804E949}"/>
          </ac:grpSpMkLst>
        </pc:grpChg>
        <pc:grpChg chg="add mod">
          <ac:chgData name="Darius Kuddo" userId="da7555aa-d650-4d73-b00b-d01e713f1329" providerId="ADAL" clId="{9A4B509C-EEE7-485A-994E-5919214B754D}" dt="2025-02-20T01:51:49.529" v="2201"/>
          <ac:grpSpMkLst>
            <pc:docMk/>
            <pc:sldMk cId="3739907698" sldId="275"/>
            <ac:grpSpMk id="315" creationId="{24095E9B-5A50-AE8D-A697-FE1A9CC4A290}"/>
          </ac:grpSpMkLst>
        </pc:grpChg>
        <pc:grpChg chg="mod">
          <ac:chgData name="Darius Kuddo" userId="da7555aa-d650-4d73-b00b-d01e713f1329" providerId="ADAL" clId="{9A4B509C-EEE7-485A-994E-5919214B754D}" dt="2025-02-20T01:51:49.529" v="2201"/>
          <ac:grpSpMkLst>
            <pc:docMk/>
            <pc:sldMk cId="3739907698" sldId="275"/>
            <ac:grpSpMk id="337" creationId="{9D2485D4-4327-4C3D-BBEB-FB544E029B86}"/>
          </ac:grpSpMkLst>
        </pc:grpChg>
        <pc:grpChg chg="add mod">
          <ac:chgData name="Darius Kuddo" userId="da7555aa-d650-4d73-b00b-d01e713f1329" providerId="ADAL" clId="{9A4B509C-EEE7-485A-994E-5919214B754D}" dt="2025-02-20T01:51:49.529" v="2201"/>
          <ac:grpSpMkLst>
            <pc:docMk/>
            <pc:sldMk cId="3739907698" sldId="275"/>
            <ac:grpSpMk id="340" creationId="{5950A92A-8169-5002-BFC2-53048323D645}"/>
          </ac:grpSpMkLst>
        </pc:grpChg>
        <pc:grpChg chg="add mod">
          <ac:chgData name="Darius Kuddo" userId="da7555aa-d650-4d73-b00b-d01e713f1329" providerId="ADAL" clId="{9A4B509C-EEE7-485A-994E-5919214B754D}" dt="2025-02-20T01:51:49.529" v="2201"/>
          <ac:grpSpMkLst>
            <pc:docMk/>
            <pc:sldMk cId="3739907698" sldId="275"/>
            <ac:grpSpMk id="2061" creationId="{9A671F79-6EE3-48CB-E090-D333FFD5D221}"/>
          </ac:grpSpMkLst>
        </pc:grpChg>
        <pc:grpChg chg="add mod">
          <ac:chgData name="Darius Kuddo" userId="da7555aa-d650-4d73-b00b-d01e713f1329" providerId="ADAL" clId="{9A4B509C-EEE7-485A-994E-5919214B754D}" dt="2025-02-20T01:51:49.529" v="2201"/>
          <ac:grpSpMkLst>
            <pc:docMk/>
            <pc:sldMk cId="3739907698" sldId="275"/>
            <ac:grpSpMk id="2088" creationId="{70C68B7D-3ABD-CC8C-81E1-ED7C8F6C28FF}"/>
          </ac:grpSpMkLst>
        </pc:grpChg>
        <pc:grpChg chg="add mod">
          <ac:chgData name="Darius Kuddo" userId="da7555aa-d650-4d73-b00b-d01e713f1329" providerId="ADAL" clId="{9A4B509C-EEE7-485A-994E-5919214B754D}" dt="2025-02-20T01:51:45.199" v="2199"/>
          <ac:grpSpMkLst>
            <pc:docMk/>
            <pc:sldMk cId="3739907698" sldId="275"/>
            <ac:grpSpMk id="2240" creationId="{79FE0809-1189-2420-D223-92A549101C69}"/>
          </ac:grpSpMkLst>
        </pc:grpChg>
        <pc:grpChg chg="add mod">
          <ac:chgData name="Darius Kuddo" userId="da7555aa-d650-4d73-b00b-d01e713f1329" providerId="ADAL" clId="{9A4B509C-EEE7-485A-994E-5919214B754D}" dt="2025-02-20T01:51:45.199" v="2199"/>
          <ac:grpSpMkLst>
            <pc:docMk/>
            <pc:sldMk cId="3739907698" sldId="275"/>
            <ac:grpSpMk id="2248" creationId="{FF3C6A0B-1AA2-109D-0F9A-8E0D20E4D878}"/>
          </ac:grpSpMkLst>
        </pc:grpChg>
        <pc:grpChg chg="add mod">
          <ac:chgData name="Darius Kuddo" userId="da7555aa-d650-4d73-b00b-d01e713f1329" providerId="ADAL" clId="{9A4B509C-EEE7-485A-994E-5919214B754D}" dt="2025-02-20T01:51:45.199" v="2199"/>
          <ac:grpSpMkLst>
            <pc:docMk/>
            <pc:sldMk cId="3739907698" sldId="275"/>
            <ac:grpSpMk id="2296" creationId="{CD1F1311-D132-0ECE-CCC2-A3958B0A9E2C}"/>
          </ac:grpSpMkLst>
        </pc:grpChg>
        <pc:grpChg chg="add mod">
          <ac:chgData name="Darius Kuddo" userId="da7555aa-d650-4d73-b00b-d01e713f1329" providerId="ADAL" clId="{9A4B509C-EEE7-485A-994E-5919214B754D}" dt="2025-02-20T01:51:45.199" v="2199"/>
          <ac:grpSpMkLst>
            <pc:docMk/>
            <pc:sldMk cId="3739907698" sldId="275"/>
            <ac:grpSpMk id="2305" creationId="{09194563-F30A-4FEA-6642-D5EAE6CE61F6}"/>
          </ac:grpSpMkLst>
        </pc:grpChg>
        <pc:grpChg chg="mod">
          <ac:chgData name="Darius Kuddo" userId="da7555aa-d650-4d73-b00b-d01e713f1329" providerId="ADAL" clId="{9A4B509C-EEE7-485A-994E-5919214B754D}" dt="2025-02-20T01:51:45.199" v="2199"/>
          <ac:grpSpMkLst>
            <pc:docMk/>
            <pc:sldMk cId="3739907698" sldId="275"/>
            <ac:grpSpMk id="2306" creationId="{64DC1DCE-4225-3891-EE2C-5EA4E882E2A5}"/>
          </ac:grpSpMkLst>
        </pc:grpChg>
        <pc:grpChg chg="mod">
          <ac:chgData name="Darius Kuddo" userId="da7555aa-d650-4d73-b00b-d01e713f1329" providerId="ADAL" clId="{9A4B509C-EEE7-485A-994E-5919214B754D}" dt="2025-02-20T01:51:45.199" v="2199"/>
          <ac:grpSpMkLst>
            <pc:docMk/>
            <pc:sldMk cId="3739907698" sldId="275"/>
            <ac:grpSpMk id="2307" creationId="{A176A3C5-547E-FD6F-F8B0-3BFB9665C2D8}"/>
          </ac:grpSpMkLst>
        </pc:grpChg>
        <pc:grpChg chg="add mod">
          <ac:chgData name="Darius Kuddo" userId="da7555aa-d650-4d73-b00b-d01e713f1329" providerId="ADAL" clId="{9A4B509C-EEE7-485A-994E-5919214B754D}" dt="2025-02-20T01:51:45.199" v="2199"/>
          <ac:grpSpMkLst>
            <pc:docMk/>
            <pc:sldMk cId="3739907698" sldId="275"/>
            <ac:grpSpMk id="2325" creationId="{F2CC3596-02CD-9948-92F7-9D910FDE1EE3}"/>
          </ac:grpSpMkLst>
        </pc:grpChg>
        <pc:grpChg chg="add mod">
          <ac:chgData name="Darius Kuddo" userId="da7555aa-d650-4d73-b00b-d01e713f1329" providerId="ADAL" clId="{9A4B509C-EEE7-485A-994E-5919214B754D}" dt="2025-02-20T01:51:45.199" v="2199"/>
          <ac:grpSpMkLst>
            <pc:docMk/>
            <pc:sldMk cId="3739907698" sldId="275"/>
            <ac:grpSpMk id="2349" creationId="{BB00946E-8028-0F17-72BB-4F6A38ACE260}"/>
          </ac:grpSpMkLst>
        </pc:grpChg>
        <pc:grpChg chg="add mod">
          <ac:chgData name="Darius Kuddo" userId="da7555aa-d650-4d73-b00b-d01e713f1329" providerId="ADAL" clId="{9A4B509C-EEE7-485A-994E-5919214B754D}" dt="2025-02-20T01:51:45.199" v="2199"/>
          <ac:grpSpMkLst>
            <pc:docMk/>
            <pc:sldMk cId="3739907698" sldId="275"/>
            <ac:grpSpMk id="2368" creationId="{08854596-31D4-35AF-14B4-CB58944D6061}"/>
          </ac:grpSpMkLst>
        </pc:grpChg>
        <pc:grpChg chg="add mod">
          <ac:chgData name="Darius Kuddo" userId="da7555aa-d650-4d73-b00b-d01e713f1329" providerId="ADAL" clId="{9A4B509C-EEE7-485A-994E-5919214B754D}" dt="2025-02-20T01:51:45.199" v="2199"/>
          <ac:grpSpMkLst>
            <pc:docMk/>
            <pc:sldMk cId="3739907698" sldId="275"/>
            <ac:grpSpMk id="2393" creationId="{2EE3AA22-D0A5-1F09-65C5-B097B0B31ADA}"/>
          </ac:grpSpMkLst>
        </pc:grpChg>
        <pc:grpChg chg="mod">
          <ac:chgData name="Darius Kuddo" userId="da7555aa-d650-4d73-b00b-d01e713f1329" providerId="ADAL" clId="{9A4B509C-EEE7-485A-994E-5919214B754D}" dt="2025-02-20T01:51:45.199" v="2199"/>
          <ac:grpSpMkLst>
            <pc:docMk/>
            <pc:sldMk cId="3739907698" sldId="275"/>
            <ac:grpSpMk id="2394" creationId="{13190C7C-655F-915F-32E2-79901BE71741}"/>
          </ac:grpSpMkLst>
        </pc:grpChg>
        <pc:grpChg chg="add mod">
          <ac:chgData name="Darius Kuddo" userId="da7555aa-d650-4d73-b00b-d01e713f1329" providerId="ADAL" clId="{9A4B509C-EEE7-485A-994E-5919214B754D}" dt="2025-02-20T01:51:45.199" v="2199"/>
          <ac:grpSpMkLst>
            <pc:docMk/>
            <pc:sldMk cId="3739907698" sldId="275"/>
            <ac:grpSpMk id="2401" creationId="{3A023CA3-A2CA-EED4-8C15-5AD469DC80BF}"/>
          </ac:grpSpMkLst>
        </pc:grpChg>
        <pc:grpChg chg="mod">
          <ac:chgData name="Darius Kuddo" userId="da7555aa-d650-4d73-b00b-d01e713f1329" providerId="ADAL" clId="{9A4B509C-EEE7-485A-994E-5919214B754D}" dt="2025-02-20T01:51:45.199" v="2199"/>
          <ac:grpSpMkLst>
            <pc:docMk/>
            <pc:sldMk cId="3739907698" sldId="275"/>
            <ac:grpSpMk id="2426" creationId="{187418E0-1BD4-0C00-3A86-DA7CA03AB7E1}"/>
          </ac:grpSpMkLst>
        </pc:grpChg>
        <pc:grpChg chg="add mod">
          <ac:chgData name="Darius Kuddo" userId="da7555aa-d650-4d73-b00b-d01e713f1329" providerId="ADAL" clId="{9A4B509C-EEE7-485A-994E-5919214B754D}" dt="2025-02-20T01:51:45.199" v="2199"/>
          <ac:grpSpMkLst>
            <pc:docMk/>
            <pc:sldMk cId="3739907698" sldId="275"/>
            <ac:grpSpMk id="2431" creationId="{E60D464F-904C-18EE-545E-BCE8CD239397}"/>
          </ac:grpSpMkLst>
        </pc:grpChg>
        <pc:grpChg chg="add mod">
          <ac:chgData name="Darius Kuddo" userId="da7555aa-d650-4d73-b00b-d01e713f1329" providerId="ADAL" clId="{9A4B509C-EEE7-485A-994E-5919214B754D}" dt="2025-02-20T01:51:49.529" v="2201"/>
          <ac:grpSpMkLst>
            <pc:docMk/>
            <pc:sldMk cId="3739907698" sldId="275"/>
            <ac:grpSpMk id="2474" creationId="{9F486D34-4A91-959C-7CEF-0971EF312B3E}"/>
          </ac:grpSpMkLst>
        </pc:grpChg>
        <pc:grpChg chg="add mod">
          <ac:chgData name="Darius Kuddo" userId="da7555aa-d650-4d73-b00b-d01e713f1329" providerId="ADAL" clId="{9A4B509C-EEE7-485A-994E-5919214B754D}" dt="2025-02-20T01:51:49.529" v="2201"/>
          <ac:grpSpMkLst>
            <pc:docMk/>
            <pc:sldMk cId="3739907698" sldId="275"/>
            <ac:grpSpMk id="2482" creationId="{EB951DDF-96A7-722E-CAE9-90EAE9D49489}"/>
          </ac:grpSpMkLst>
        </pc:grpChg>
        <pc:grpChg chg="add mod">
          <ac:chgData name="Darius Kuddo" userId="da7555aa-d650-4d73-b00b-d01e713f1329" providerId="ADAL" clId="{9A4B509C-EEE7-485A-994E-5919214B754D}" dt="2025-02-20T01:51:49.529" v="2201"/>
          <ac:grpSpMkLst>
            <pc:docMk/>
            <pc:sldMk cId="3739907698" sldId="275"/>
            <ac:grpSpMk id="2493" creationId="{A50A778C-CF4A-4C7E-201C-CEB9E5570E5A}"/>
          </ac:grpSpMkLst>
        </pc:grpChg>
        <pc:picChg chg="del">
          <ac:chgData name="Darius Kuddo" userId="da7555aa-d650-4d73-b00b-d01e713f1329" providerId="ADAL" clId="{9A4B509C-EEE7-485A-994E-5919214B754D}" dt="2025-02-20T01:51:48.244" v="2200" actId="478"/>
          <ac:picMkLst>
            <pc:docMk/>
            <pc:sldMk cId="3739907698" sldId="275"/>
            <ac:picMk id="9" creationId="{D7D2394B-EEAD-494F-5A57-9F4DA64AE9D9}"/>
          </ac:picMkLst>
        </pc:picChg>
        <pc:picChg chg="mod">
          <ac:chgData name="Darius Kuddo" userId="da7555aa-d650-4d73-b00b-d01e713f1329" providerId="ADAL" clId="{9A4B509C-EEE7-485A-994E-5919214B754D}" dt="2025-02-20T01:42:18.039" v="2014"/>
          <ac:picMkLst>
            <pc:docMk/>
            <pc:sldMk cId="3739907698" sldId="275"/>
            <ac:picMk id="19" creationId="{3CEF6691-D831-5CC2-BAB3-C74C109838BE}"/>
          </ac:picMkLst>
        </pc:picChg>
        <pc:picChg chg="mod">
          <ac:chgData name="Darius Kuddo" userId="da7555aa-d650-4d73-b00b-d01e713f1329" providerId="ADAL" clId="{9A4B509C-EEE7-485A-994E-5919214B754D}" dt="2025-02-20T01:42:18.039" v="2014"/>
          <ac:picMkLst>
            <pc:docMk/>
            <pc:sldMk cId="3739907698" sldId="275"/>
            <ac:picMk id="20" creationId="{6FA8C5CF-60C5-C396-EC1D-22F56EC0C280}"/>
          </ac:picMkLst>
        </pc:picChg>
        <pc:picChg chg="mod">
          <ac:chgData name="Darius Kuddo" userId="da7555aa-d650-4d73-b00b-d01e713f1329" providerId="ADAL" clId="{9A4B509C-EEE7-485A-994E-5919214B754D}" dt="2025-02-20T01:51:45.199" v="2199"/>
          <ac:picMkLst>
            <pc:docMk/>
            <pc:sldMk cId="3739907698" sldId="275"/>
            <ac:picMk id="30" creationId="{FDFCF43B-7338-98B0-B7DE-367E940F8544}"/>
          </ac:picMkLst>
        </pc:picChg>
        <pc:picChg chg="mod">
          <ac:chgData name="Darius Kuddo" userId="da7555aa-d650-4d73-b00b-d01e713f1329" providerId="ADAL" clId="{9A4B509C-EEE7-485A-994E-5919214B754D}" dt="2025-02-20T01:51:45.199" v="2199"/>
          <ac:picMkLst>
            <pc:docMk/>
            <pc:sldMk cId="3739907698" sldId="275"/>
            <ac:picMk id="32" creationId="{A84B3008-DD3A-0B4E-02BF-3B0A4FF01E7F}"/>
          </ac:picMkLst>
        </pc:picChg>
        <pc:picChg chg="mod">
          <ac:chgData name="Darius Kuddo" userId="da7555aa-d650-4d73-b00b-d01e713f1329" providerId="ADAL" clId="{9A4B509C-EEE7-485A-994E-5919214B754D}" dt="2025-02-20T01:51:45.199" v="2199"/>
          <ac:picMkLst>
            <pc:docMk/>
            <pc:sldMk cId="3739907698" sldId="275"/>
            <ac:picMk id="38" creationId="{89345C38-00DF-0430-3004-1CEB877B2A65}"/>
          </ac:picMkLst>
        </pc:picChg>
        <pc:picChg chg="mod">
          <ac:chgData name="Darius Kuddo" userId="da7555aa-d650-4d73-b00b-d01e713f1329" providerId="ADAL" clId="{9A4B509C-EEE7-485A-994E-5919214B754D}" dt="2025-02-20T01:51:45.199" v="2199"/>
          <ac:picMkLst>
            <pc:docMk/>
            <pc:sldMk cId="3739907698" sldId="275"/>
            <ac:picMk id="39" creationId="{F243A82F-FA9E-4097-D34B-54537579F9F0}"/>
          </ac:picMkLst>
        </pc:picChg>
        <pc:picChg chg="add mod">
          <ac:chgData name="Darius Kuddo" userId="da7555aa-d650-4d73-b00b-d01e713f1329" providerId="ADAL" clId="{9A4B509C-EEE7-485A-994E-5919214B754D}" dt="2025-02-20T01:51:49.529" v="2201"/>
          <ac:picMkLst>
            <pc:docMk/>
            <pc:sldMk cId="3739907698" sldId="275"/>
            <ac:picMk id="209" creationId="{98F8A06F-D7CD-5048-9D9E-63AD1123B2AA}"/>
          </ac:picMkLst>
        </pc:picChg>
        <pc:picChg chg="del">
          <ac:chgData name="Darius Kuddo" userId="da7555aa-d650-4d73-b00b-d01e713f1329" providerId="ADAL" clId="{9A4B509C-EEE7-485A-994E-5919214B754D}" dt="2025-02-20T01:51:48.244" v="2200" actId="478"/>
          <ac:picMkLst>
            <pc:docMk/>
            <pc:sldMk cId="3739907698" sldId="275"/>
            <ac:picMk id="241" creationId="{9CC74C6F-037A-812B-4BA2-B3CD6EDB2069}"/>
          </ac:picMkLst>
        </pc:picChg>
        <pc:picChg chg="del">
          <ac:chgData name="Darius Kuddo" userId="da7555aa-d650-4d73-b00b-d01e713f1329" providerId="ADAL" clId="{9A4B509C-EEE7-485A-994E-5919214B754D}" dt="2025-02-20T01:51:48.244" v="2200" actId="478"/>
          <ac:picMkLst>
            <pc:docMk/>
            <pc:sldMk cId="3739907698" sldId="275"/>
            <ac:picMk id="242" creationId="{1952B3C4-F217-0667-D9A2-339EFA479345}"/>
          </ac:picMkLst>
        </pc:picChg>
        <pc:picChg chg="mod">
          <ac:chgData name="Darius Kuddo" userId="da7555aa-d650-4d73-b00b-d01e713f1329" providerId="ADAL" clId="{9A4B509C-EEE7-485A-994E-5919214B754D}" dt="2025-02-20T01:51:49.529" v="2201"/>
          <ac:picMkLst>
            <pc:docMk/>
            <pc:sldMk cId="3739907698" sldId="275"/>
            <ac:picMk id="250" creationId="{A4D2C095-DAA7-BD46-BB01-6E82B58BD641}"/>
          </ac:picMkLst>
        </pc:picChg>
        <pc:picChg chg="mod">
          <ac:chgData name="Darius Kuddo" userId="da7555aa-d650-4d73-b00b-d01e713f1329" providerId="ADAL" clId="{9A4B509C-EEE7-485A-994E-5919214B754D}" dt="2025-02-20T01:51:49.529" v="2201"/>
          <ac:picMkLst>
            <pc:docMk/>
            <pc:sldMk cId="3739907698" sldId="275"/>
            <ac:picMk id="251" creationId="{976E5DE0-7CE3-17C8-50E3-28F733CBEC5A}"/>
          </ac:picMkLst>
        </pc:picChg>
        <pc:picChg chg="del">
          <ac:chgData name="Darius Kuddo" userId="da7555aa-d650-4d73-b00b-d01e713f1329" providerId="ADAL" clId="{9A4B509C-EEE7-485A-994E-5919214B754D}" dt="2025-02-20T01:51:48.244" v="2200" actId="478"/>
          <ac:picMkLst>
            <pc:docMk/>
            <pc:sldMk cId="3739907698" sldId="275"/>
            <ac:picMk id="297" creationId="{51CDF477-EBEC-7A27-8429-DEFAD3203729}"/>
          </ac:picMkLst>
        </pc:picChg>
        <pc:picChg chg="del">
          <ac:chgData name="Darius Kuddo" userId="da7555aa-d650-4d73-b00b-d01e713f1329" providerId="ADAL" clId="{9A4B509C-EEE7-485A-994E-5919214B754D}" dt="2025-02-20T01:51:48.244" v="2200" actId="478"/>
          <ac:picMkLst>
            <pc:docMk/>
            <pc:sldMk cId="3739907698" sldId="275"/>
            <ac:picMk id="298" creationId="{23B4E159-B112-900F-D31A-01E0836643D6}"/>
          </ac:picMkLst>
        </pc:picChg>
        <pc:picChg chg="mod">
          <ac:chgData name="Darius Kuddo" userId="da7555aa-d650-4d73-b00b-d01e713f1329" providerId="ADAL" clId="{9A4B509C-EEE7-485A-994E-5919214B754D}" dt="2025-02-20T01:51:49.529" v="2201"/>
          <ac:picMkLst>
            <pc:docMk/>
            <pc:sldMk cId="3739907698" sldId="275"/>
            <ac:picMk id="305" creationId="{90C789D4-70BB-1BDB-E107-5281E82523E0}"/>
          </ac:picMkLst>
        </pc:picChg>
        <pc:picChg chg="mod">
          <ac:chgData name="Darius Kuddo" userId="da7555aa-d650-4d73-b00b-d01e713f1329" providerId="ADAL" clId="{9A4B509C-EEE7-485A-994E-5919214B754D}" dt="2025-02-20T01:51:49.529" v="2201"/>
          <ac:picMkLst>
            <pc:docMk/>
            <pc:sldMk cId="3739907698" sldId="275"/>
            <ac:picMk id="306" creationId="{6A23B78C-8D7F-65E7-9668-ACC009752336}"/>
          </ac:picMkLst>
        </pc:picChg>
        <pc:picChg chg="mod">
          <ac:chgData name="Darius Kuddo" userId="da7555aa-d650-4d73-b00b-d01e713f1329" providerId="ADAL" clId="{9A4B509C-EEE7-485A-994E-5919214B754D}" dt="2025-02-20T01:51:49.529" v="2201"/>
          <ac:picMkLst>
            <pc:docMk/>
            <pc:sldMk cId="3739907698" sldId="275"/>
            <ac:picMk id="310" creationId="{7E9D726D-BD23-2EBB-885D-F4807C85C45A}"/>
          </ac:picMkLst>
        </pc:picChg>
        <pc:picChg chg="mod">
          <ac:chgData name="Darius Kuddo" userId="da7555aa-d650-4d73-b00b-d01e713f1329" providerId="ADAL" clId="{9A4B509C-EEE7-485A-994E-5919214B754D}" dt="2025-02-20T01:51:49.529" v="2201"/>
          <ac:picMkLst>
            <pc:docMk/>
            <pc:sldMk cId="3739907698" sldId="275"/>
            <ac:picMk id="311" creationId="{F3C76639-0392-AC24-899F-31E92A09D58A}"/>
          </ac:picMkLst>
        </pc:picChg>
        <pc:picChg chg="mod">
          <ac:chgData name="Darius Kuddo" userId="da7555aa-d650-4d73-b00b-d01e713f1329" providerId="ADAL" clId="{9A4B509C-EEE7-485A-994E-5919214B754D}" dt="2025-02-20T01:51:49.529" v="2201"/>
          <ac:picMkLst>
            <pc:docMk/>
            <pc:sldMk cId="3739907698" sldId="275"/>
            <ac:picMk id="335" creationId="{F1D02651-2D8B-0147-4674-1FFC7CD3F442}"/>
          </ac:picMkLst>
        </pc:picChg>
        <pc:picChg chg="mod">
          <ac:chgData name="Darius Kuddo" userId="da7555aa-d650-4d73-b00b-d01e713f1329" providerId="ADAL" clId="{9A4B509C-EEE7-485A-994E-5919214B754D}" dt="2025-02-20T01:51:49.529" v="2201"/>
          <ac:picMkLst>
            <pc:docMk/>
            <pc:sldMk cId="3739907698" sldId="275"/>
            <ac:picMk id="336" creationId="{B3F870B6-1108-8E08-A239-1B55AE293AD3}"/>
          </ac:picMkLst>
        </pc:picChg>
        <pc:picChg chg="mod">
          <ac:chgData name="Darius Kuddo" userId="da7555aa-d650-4d73-b00b-d01e713f1329" providerId="ADAL" clId="{9A4B509C-EEE7-485A-994E-5919214B754D}" dt="2025-02-20T01:51:49.529" v="2201"/>
          <ac:picMkLst>
            <pc:docMk/>
            <pc:sldMk cId="3739907698" sldId="275"/>
            <ac:picMk id="338" creationId="{31D736EB-F596-ADEB-1650-ACA294A7C6E1}"/>
          </ac:picMkLst>
        </pc:picChg>
        <pc:picChg chg="mod">
          <ac:chgData name="Darius Kuddo" userId="da7555aa-d650-4d73-b00b-d01e713f1329" providerId="ADAL" clId="{9A4B509C-EEE7-485A-994E-5919214B754D}" dt="2025-02-20T01:51:49.529" v="2201"/>
          <ac:picMkLst>
            <pc:docMk/>
            <pc:sldMk cId="3739907698" sldId="275"/>
            <ac:picMk id="339" creationId="{A1872B14-E6A1-57AF-05E6-97B4EB8FFBE9}"/>
          </ac:picMkLst>
        </pc:picChg>
        <pc:picChg chg="mod">
          <ac:chgData name="Darius Kuddo" userId="da7555aa-d650-4d73-b00b-d01e713f1329" providerId="ADAL" clId="{9A4B509C-EEE7-485A-994E-5919214B754D}" dt="2025-02-20T01:51:49.529" v="2201"/>
          <ac:picMkLst>
            <pc:docMk/>
            <pc:sldMk cId="3739907698" sldId="275"/>
            <ac:picMk id="2052" creationId="{F049057F-4A31-5502-87CF-9FAE4BDF55C8}"/>
          </ac:picMkLst>
        </pc:picChg>
        <pc:picChg chg="mod">
          <ac:chgData name="Darius Kuddo" userId="da7555aa-d650-4d73-b00b-d01e713f1329" providerId="ADAL" clId="{9A4B509C-EEE7-485A-994E-5919214B754D}" dt="2025-02-20T01:51:49.529" v="2201"/>
          <ac:picMkLst>
            <pc:docMk/>
            <pc:sldMk cId="3739907698" sldId="275"/>
            <ac:picMk id="2053" creationId="{90A056A0-E22E-46D2-662D-FFF2E3332D94}"/>
          </ac:picMkLst>
        </pc:picChg>
        <pc:picChg chg="mod">
          <ac:chgData name="Darius Kuddo" userId="da7555aa-d650-4d73-b00b-d01e713f1329" providerId="ADAL" clId="{9A4B509C-EEE7-485A-994E-5919214B754D}" dt="2025-02-20T01:51:49.529" v="2201"/>
          <ac:picMkLst>
            <pc:docMk/>
            <pc:sldMk cId="3739907698" sldId="275"/>
            <ac:picMk id="2054" creationId="{3F0415B1-FA32-3C4A-BC6D-2A8B7D6167DA}"/>
          </ac:picMkLst>
        </pc:picChg>
        <pc:picChg chg="mod">
          <ac:chgData name="Darius Kuddo" userId="da7555aa-d650-4d73-b00b-d01e713f1329" providerId="ADAL" clId="{9A4B509C-EEE7-485A-994E-5919214B754D}" dt="2025-02-20T01:51:49.529" v="2201"/>
          <ac:picMkLst>
            <pc:docMk/>
            <pc:sldMk cId="3739907698" sldId="275"/>
            <ac:picMk id="2059" creationId="{DF2F2C0B-347E-44B1-CC8F-BBB4C146605C}"/>
          </ac:picMkLst>
        </pc:picChg>
        <pc:picChg chg="mod">
          <ac:chgData name="Darius Kuddo" userId="da7555aa-d650-4d73-b00b-d01e713f1329" providerId="ADAL" clId="{9A4B509C-EEE7-485A-994E-5919214B754D}" dt="2025-02-20T01:51:49.529" v="2201"/>
          <ac:picMkLst>
            <pc:docMk/>
            <pc:sldMk cId="3739907698" sldId="275"/>
            <ac:picMk id="2060" creationId="{E20EF16B-A4CB-027C-F3F9-A6024A128886}"/>
          </ac:picMkLst>
        </pc:picChg>
        <pc:picChg chg="mod">
          <ac:chgData name="Darius Kuddo" userId="da7555aa-d650-4d73-b00b-d01e713f1329" providerId="ADAL" clId="{9A4B509C-EEE7-485A-994E-5919214B754D}" dt="2025-02-20T01:51:45.199" v="2199"/>
          <ac:picMkLst>
            <pc:docMk/>
            <pc:sldMk cId="3739907698" sldId="275"/>
            <ac:picMk id="2242" creationId="{F6695380-C442-4E50-6552-D17A79872010}"/>
          </ac:picMkLst>
        </pc:picChg>
        <pc:picChg chg="add mod">
          <ac:chgData name="Darius Kuddo" userId="da7555aa-d650-4d73-b00b-d01e713f1329" providerId="ADAL" clId="{9A4B509C-EEE7-485A-994E-5919214B754D}" dt="2025-02-20T01:51:45.199" v="2199"/>
          <ac:picMkLst>
            <pc:docMk/>
            <pc:sldMk cId="3739907698" sldId="275"/>
            <ac:picMk id="2261" creationId="{069780F9-5931-79CC-C50F-ECDD2AD150B8}"/>
          </ac:picMkLst>
        </pc:picChg>
        <pc:picChg chg="mod">
          <ac:chgData name="Darius Kuddo" userId="da7555aa-d650-4d73-b00b-d01e713f1329" providerId="ADAL" clId="{9A4B509C-EEE7-485A-994E-5919214B754D}" dt="2025-02-20T01:51:45.199" v="2199"/>
          <ac:picMkLst>
            <pc:docMk/>
            <pc:sldMk cId="3739907698" sldId="275"/>
            <ac:picMk id="2302" creationId="{50F13F75-48BB-02BF-93CD-0AC93DE1307A}"/>
          </ac:picMkLst>
        </pc:picChg>
        <pc:picChg chg="mod">
          <ac:chgData name="Darius Kuddo" userId="da7555aa-d650-4d73-b00b-d01e713f1329" providerId="ADAL" clId="{9A4B509C-EEE7-485A-994E-5919214B754D}" dt="2025-02-20T01:51:45.199" v="2199"/>
          <ac:picMkLst>
            <pc:docMk/>
            <pc:sldMk cId="3739907698" sldId="275"/>
            <ac:picMk id="2303" creationId="{7D6F484D-5C3F-376E-50AF-C2D190073FF3}"/>
          </ac:picMkLst>
        </pc:picChg>
        <pc:picChg chg="mod">
          <ac:chgData name="Darius Kuddo" userId="da7555aa-d650-4d73-b00b-d01e713f1329" providerId="ADAL" clId="{9A4B509C-EEE7-485A-994E-5919214B754D}" dt="2025-02-20T01:51:45.199" v="2199"/>
          <ac:picMkLst>
            <pc:docMk/>
            <pc:sldMk cId="3739907698" sldId="275"/>
            <ac:picMk id="2316" creationId="{3FE5F229-71B2-3E98-937A-19B80C7147BB}"/>
          </ac:picMkLst>
        </pc:picChg>
        <pc:picChg chg="mod">
          <ac:chgData name="Darius Kuddo" userId="da7555aa-d650-4d73-b00b-d01e713f1329" providerId="ADAL" clId="{9A4B509C-EEE7-485A-994E-5919214B754D}" dt="2025-02-20T01:51:45.199" v="2199"/>
          <ac:picMkLst>
            <pc:docMk/>
            <pc:sldMk cId="3739907698" sldId="275"/>
            <ac:picMk id="2317" creationId="{36FBE841-6F18-9B9C-86AE-480D70A5E1FE}"/>
          </ac:picMkLst>
        </pc:picChg>
        <pc:picChg chg="mod">
          <ac:chgData name="Darius Kuddo" userId="da7555aa-d650-4d73-b00b-d01e713f1329" providerId="ADAL" clId="{9A4B509C-EEE7-485A-994E-5919214B754D}" dt="2025-02-20T01:51:45.199" v="2199"/>
          <ac:picMkLst>
            <pc:docMk/>
            <pc:sldMk cId="3739907698" sldId="275"/>
            <ac:picMk id="2318" creationId="{F87B73DC-4125-31E2-ED56-22C832117B48}"/>
          </ac:picMkLst>
        </pc:picChg>
        <pc:picChg chg="mod">
          <ac:chgData name="Darius Kuddo" userId="da7555aa-d650-4d73-b00b-d01e713f1329" providerId="ADAL" clId="{9A4B509C-EEE7-485A-994E-5919214B754D}" dt="2025-02-20T01:51:45.199" v="2199"/>
          <ac:picMkLst>
            <pc:docMk/>
            <pc:sldMk cId="3739907698" sldId="275"/>
            <ac:picMk id="2323" creationId="{33D0C040-F719-4299-DA6C-90830F4FE7D9}"/>
          </ac:picMkLst>
        </pc:picChg>
        <pc:picChg chg="mod">
          <ac:chgData name="Darius Kuddo" userId="da7555aa-d650-4d73-b00b-d01e713f1329" providerId="ADAL" clId="{9A4B509C-EEE7-485A-994E-5919214B754D}" dt="2025-02-20T01:51:45.199" v="2199"/>
          <ac:picMkLst>
            <pc:docMk/>
            <pc:sldMk cId="3739907698" sldId="275"/>
            <ac:picMk id="2324" creationId="{E17C000A-925B-C5A8-2277-3A1E8309982B}"/>
          </ac:picMkLst>
        </pc:picChg>
        <pc:picChg chg="mod">
          <ac:chgData name="Darius Kuddo" userId="da7555aa-d650-4d73-b00b-d01e713f1329" providerId="ADAL" clId="{9A4B509C-EEE7-485A-994E-5919214B754D}" dt="2025-02-20T01:51:45.199" v="2199"/>
          <ac:picMkLst>
            <pc:docMk/>
            <pc:sldMk cId="3739907698" sldId="275"/>
            <ac:picMk id="2391" creationId="{D8B7E185-3831-D656-8C91-FC11A16E4AE9}"/>
          </ac:picMkLst>
        </pc:picChg>
        <pc:picChg chg="mod">
          <ac:chgData name="Darius Kuddo" userId="da7555aa-d650-4d73-b00b-d01e713f1329" providerId="ADAL" clId="{9A4B509C-EEE7-485A-994E-5919214B754D}" dt="2025-02-20T01:51:45.199" v="2199"/>
          <ac:picMkLst>
            <pc:docMk/>
            <pc:sldMk cId="3739907698" sldId="275"/>
            <ac:picMk id="2392" creationId="{E5714629-CD42-9951-4B2B-675CD15AE370}"/>
          </ac:picMkLst>
        </pc:picChg>
        <pc:picChg chg="mod">
          <ac:chgData name="Darius Kuddo" userId="da7555aa-d650-4d73-b00b-d01e713f1329" providerId="ADAL" clId="{9A4B509C-EEE7-485A-994E-5919214B754D}" dt="2025-02-20T01:51:45.199" v="2199"/>
          <ac:picMkLst>
            <pc:docMk/>
            <pc:sldMk cId="3739907698" sldId="275"/>
            <ac:picMk id="2396" creationId="{0B1B0BD7-F5FE-67D6-B48D-232B65EA0791}"/>
          </ac:picMkLst>
        </pc:picChg>
        <pc:picChg chg="mod">
          <ac:chgData name="Darius Kuddo" userId="da7555aa-d650-4d73-b00b-d01e713f1329" providerId="ADAL" clId="{9A4B509C-EEE7-485A-994E-5919214B754D}" dt="2025-02-20T01:51:45.199" v="2199"/>
          <ac:picMkLst>
            <pc:docMk/>
            <pc:sldMk cId="3739907698" sldId="275"/>
            <ac:picMk id="2397" creationId="{D7290132-E4E3-4282-DE88-82BE51DBB2AF}"/>
          </ac:picMkLst>
        </pc:picChg>
        <pc:picChg chg="mod">
          <ac:chgData name="Darius Kuddo" userId="da7555aa-d650-4d73-b00b-d01e713f1329" providerId="ADAL" clId="{9A4B509C-EEE7-485A-994E-5919214B754D}" dt="2025-02-20T01:51:45.199" v="2199"/>
          <ac:picMkLst>
            <pc:docMk/>
            <pc:sldMk cId="3739907698" sldId="275"/>
            <ac:picMk id="2423" creationId="{0E739E59-688F-B4B6-6780-A7948FFD32A3}"/>
          </ac:picMkLst>
        </pc:picChg>
        <pc:picChg chg="mod">
          <ac:chgData name="Darius Kuddo" userId="da7555aa-d650-4d73-b00b-d01e713f1329" providerId="ADAL" clId="{9A4B509C-EEE7-485A-994E-5919214B754D}" dt="2025-02-20T01:51:45.199" v="2199"/>
          <ac:picMkLst>
            <pc:docMk/>
            <pc:sldMk cId="3739907698" sldId="275"/>
            <ac:picMk id="2424" creationId="{DD118EB8-E7B8-24C9-9D30-A47F10717224}"/>
          </ac:picMkLst>
        </pc:picChg>
        <pc:picChg chg="mod">
          <ac:chgData name="Darius Kuddo" userId="da7555aa-d650-4d73-b00b-d01e713f1329" providerId="ADAL" clId="{9A4B509C-EEE7-485A-994E-5919214B754D}" dt="2025-02-20T01:51:45.199" v="2199"/>
          <ac:picMkLst>
            <pc:docMk/>
            <pc:sldMk cId="3739907698" sldId="275"/>
            <ac:picMk id="2429" creationId="{1CEB8C38-E71E-5F1D-EAA6-7AB3B5875A3F}"/>
          </ac:picMkLst>
        </pc:picChg>
        <pc:picChg chg="mod">
          <ac:chgData name="Darius Kuddo" userId="da7555aa-d650-4d73-b00b-d01e713f1329" providerId="ADAL" clId="{9A4B509C-EEE7-485A-994E-5919214B754D}" dt="2025-02-20T01:51:45.199" v="2199"/>
          <ac:picMkLst>
            <pc:docMk/>
            <pc:sldMk cId="3739907698" sldId="275"/>
            <ac:picMk id="2430" creationId="{139B880E-CA91-7066-265F-2887EC0B5248}"/>
          </ac:picMkLst>
        </pc:picChg>
        <pc:picChg chg="del">
          <ac:chgData name="Darius Kuddo" userId="da7555aa-d650-4d73-b00b-d01e713f1329" providerId="ADAL" clId="{9A4B509C-EEE7-485A-994E-5919214B754D}" dt="2025-02-20T01:51:48.244" v="2200" actId="478"/>
          <ac:picMkLst>
            <pc:docMk/>
            <pc:sldMk cId="3739907698" sldId="275"/>
            <ac:picMk id="2457" creationId="{0FA11D57-EE2E-570C-B704-5F5FDDF8542A}"/>
          </ac:picMkLst>
        </pc:picChg>
        <pc:picChg chg="mod">
          <ac:chgData name="Darius Kuddo" userId="da7555aa-d650-4d73-b00b-d01e713f1329" providerId="ADAL" clId="{9A4B509C-EEE7-485A-994E-5919214B754D}" dt="2025-02-20T01:51:49.529" v="2201"/>
          <ac:picMkLst>
            <pc:docMk/>
            <pc:sldMk cId="3739907698" sldId="275"/>
            <ac:picMk id="2480" creationId="{E9EDB096-E219-E4F5-1E6C-15572A814AEA}"/>
          </ac:picMkLst>
        </pc:picChg>
        <pc:picChg chg="mod">
          <ac:chgData name="Darius Kuddo" userId="da7555aa-d650-4d73-b00b-d01e713f1329" providerId="ADAL" clId="{9A4B509C-EEE7-485A-994E-5919214B754D}" dt="2025-02-20T01:51:49.529" v="2201"/>
          <ac:picMkLst>
            <pc:docMk/>
            <pc:sldMk cId="3739907698" sldId="275"/>
            <ac:picMk id="2481" creationId="{1B980C39-BF91-5E81-B91D-B22EF034733C}"/>
          </ac:picMkLst>
        </pc:picChg>
        <pc:picChg chg="mod">
          <ac:chgData name="Darius Kuddo" userId="da7555aa-d650-4d73-b00b-d01e713f1329" providerId="ADAL" clId="{9A4B509C-EEE7-485A-994E-5919214B754D}" dt="2025-02-20T01:51:49.529" v="2201"/>
          <ac:picMkLst>
            <pc:docMk/>
            <pc:sldMk cId="3739907698" sldId="275"/>
            <ac:picMk id="2487" creationId="{C584008C-A781-BE16-6860-9995941C944D}"/>
          </ac:picMkLst>
        </pc:picChg>
        <pc:picChg chg="mod">
          <ac:chgData name="Darius Kuddo" userId="da7555aa-d650-4d73-b00b-d01e713f1329" providerId="ADAL" clId="{9A4B509C-EEE7-485A-994E-5919214B754D}" dt="2025-02-20T01:51:49.529" v="2201"/>
          <ac:picMkLst>
            <pc:docMk/>
            <pc:sldMk cId="3739907698" sldId="275"/>
            <ac:picMk id="2488" creationId="{5766E0BD-FC75-551C-1D5C-9139234734BB}"/>
          </ac:picMkLst>
        </pc:picChg>
        <pc:picChg chg="mod">
          <ac:chgData name="Darius Kuddo" userId="da7555aa-d650-4d73-b00b-d01e713f1329" providerId="ADAL" clId="{9A4B509C-EEE7-485A-994E-5919214B754D}" dt="2025-02-20T01:51:49.529" v="2201"/>
          <ac:picMkLst>
            <pc:docMk/>
            <pc:sldMk cId="3739907698" sldId="275"/>
            <ac:picMk id="2494" creationId="{FCDCF0E8-03D4-FED9-F50F-5E686F8C29E5}"/>
          </ac:picMkLst>
        </pc:picChg>
      </pc:sldChg>
      <pc:sldChg chg="add del">
        <pc:chgData name="Darius Kuddo" userId="da7555aa-d650-4d73-b00b-d01e713f1329" providerId="ADAL" clId="{9A4B509C-EEE7-485A-994E-5919214B754D}" dt="2025-02-20T01:02:04.503" v="832" actId="47"/>
        <pc:sldMkLst>
          <pc:docMk/>
          <pc:sldMk cId="681460370" sldId="276"/>
        </pc:sldMkLst>
      </pc:sldChg>
      <pc:sldChg chg="add del">
        <pc:chgData name="Darius Kuddo" userId="da7555aa-d650-4d73-b00b-d01e713f1329" providerId="ADAL" clId="{9A4B509C-EEE7-485A-994E-5919214B754D}" dt="2025-02-20T00:57:41.340" v="407" actId="47"/>
        <pc:sldMkLst>
          <pc:docMk/>
          <pc:sldMk cId="3487006413" sldId="277"/>
        </pc:sldMkLst>
      </pc:sldChg>
      <pc:sldChg chg="addSp modSp add mod">
        <pc:chgData name="Darius Kuddo" userId="da7555aa-d650-4d73-b00b-d01e713f1329" providerId="ADAL" clId="{9A4B509C-EEE7-485A-994E-5919214B754D}" dt="2025-02-20T18:36:07.732" v="4723" actId="20577"/>
        <pc:sldMkLst>
          <pc:docMk/>
          <pc:sldMk cId="3525193349" sldId="277"/>
        </pc:sldMkLst>
        <pc:spChg chg="mod">
          <ac:chgData name="Darius Kuddo" userId="da7555aa-d650-4d73-b00b-d01e713f1329" providerId="ADAL" clId="{9A4B509C-EEE7-485A-994E-5919214B754D}" dt="2025-02-20T18:36:07.732" v="4723" actId="20577"/>
          <ac:spMkLst>
            <pc:docMk/>
            <pc:sldMk cId="3525193349" sldId="277"/>
            <ac:spMk id="6" creationId="{85AAB672-9898-39C0-F60C-C2E14993FC69}"/>
          </ac:spMkLst>
        </pc:spChg>
        <pc:graphicFrameChg chg="mod modGraphic">
          <ac:chgData name="Darius Kuddo" userId="da7555aa-d650-4d73-b00b-d01e713f1329" providerId="ADAL" clId="{9A4B509C-EEE7-485A-994E-5919214B754D}" dt="2025-02-20T02:28:46.718" v="4604"/>
          <ac:graphicFrameMkLst>
            <pc:docMk/>
            <pc:sldMk cId="3525193349" sldId="277"/>
            <ac:graphicFrameMk id="2" creationId="{27AE7C1B-69CF-0542-22CF-CF94CF8CA1A5}"/>
          </ac:graphicFrameMkLst>
        </pc:graphicFrameChg>
        <pc:picChg chg="mod">
          <ac:chgData name="Darius Kuddo" userId="da7555aa-d650-4d73-b00b-d01e713f1329" providerId="ADAL" clId="{9A4B509C-EEE7-485A-994E-5919214B754D}" dt="2025-02-20T00:59:38.558" v="592" actId="552"/>
          <ac:picMkLst>
            <pc:docMk/>
            <pc:sldMk cId="3525193349" sldId="277"/>
            <ac:picMk id="3" creationId="{17321D70-E6D9-9225-D8FC-D2FC06B1D04B}"/>
          </ac:picMkLst>
        </pc:picChg>
        <pc:picChg chg="mod">
          <ac:chgData name="Darius Kuddo" userId="da7555aa-d650-4d73-b00b-d01e713f1329" providerId="ADAL" clId="{9A4B509C-EEE7-485A-994E-5919214B754D}" dt="2025-02-20T00:59:47.618" v="670" actId="1035"/>
          <ac:picMkLst>
            <pc:docMk/>
            <pc:sldMk cId="3525193349" sldId="277"/>
            <ac:picMk id="4" creationId="{09F5BFF7-BC3E-4466-43B1-6EB4CA14F53F}"/>
          </ac:picMkLst>
        </pc:picChg>
        <pc:picChg chg="mod">
          <ac:chgData name="Darius Kuddo" userId="da7555aa-d650-4d73-b00b-d01e713f1329" providerId="ADAL" clId="{9A4B509C-EEE7-485A-994E-5919214B754D}" dt="2025-02-20T00:59:31.545" v="579" actId="1035"/>
          <ac:picMkLst>
            <pc:docMk/>
            <pc:sldMk cId="3525193349" sldId="277"/>
            <ac:picMk id="5" creationId="{FA0B07C5-712F-0276-C7DC-F56E96C8A868}"/>
          </ac:picMkLst>
        </pc:picChg>
        <pc:picChg chg="add mod">
          <ac:chgData name="Darius Kuddo" userId="da7555aa-d650-4d73-b00b-d01e713f1329" providerId="ADAL" clId="{9A4B509C-EEE7-485A-994E-5919214B754D}" dt="2025-02-20T00:59:41.874" v="601" actId="1036"/>
          <ac:picMkLst>
            <pc:docMk/>
            <pc:sldMk cId="3525193349" sldId="277"/>
            <ac:picMk id="7" creationId="{0273F453-BD6B-9E34-CB0B-79A7A508DB89}"/>
          </ac:picMkLst>
        </pc:picChg>
        <pc:picChg chg="add mod">
          <ac:chgData name="Darius Kuddo" userId="da7555aa-d650-4d73-b00b-d01e713f1329" providerId="ADAL" clId="{9A4B509C-EEE7-485A-994E-5919214B754D}" dt="2025-02-20T01:00:08.526" v="723" actId="552"/>
          <ac:picMkLst>
            <pc:docMk/>
            <pc:sldMk cId="3525193349" sldId="277"/>
            <ac:picMk id="8" creationId="{798634F5-2299-83A7-9D73-DCBD0EE8CB4B}"/>
          </ac:picMkLst>
        </pc:picChg>
        <pc:picChg chg="add mod">
          <ac:chgData name="Darius Kuddo" userId="da7555aa-d650-4d73-b00b-d01e713f1329" providerId="ADAL" clId="{9A4B509C-EEE7-485A-994E-5919214B754D}" dt="2025-02-20T01:00:19.101" v="745" actId="552"/>
          <ac:picMkLst>
            <pc:docMk/>
            <pc:sldMk cId="3525193349" sldId="277"/>
            <ac:picMk id="9" creationId="{B795B5DC-4A0B-702B-7DA7-600593641606}"/>
          </ac:picMkLst>
        </pc:picChg>
        <pc:picChg chg="mod">
          <ac:chgData name="Darius Kuddo" userId="da7555aa-d650-4d73-b00b-d01e713f1329" providerId="ADAL" clId="{9A4B509C-EEE7-485A-994E-5919214B754D}" dt="2025-02-20T01:00:00.853" v="712" actId="552"/>
          <ac:picMkLst>
            <pc:docMk/>
            <pc:sldMk cId="3525193349" sldId="277"/>
            <ac:picMk id="10" creationId="{6B49A8BD-72EC-D2A6-BA7C-75B6289E014C}"/>
          </ac:picMkLst>
        </pc:picChg>
        <pc:picChg chg="add mod">
          <ac:chgData name="Darius Kuddo" userId="da7555aa-d650-4d73-b00b-d01e713f1329" providerId="ADAL" clId="{9A4B509C-EEE7-485A-994E-5919214B754D}" dt="2025-02-20T01:00:25.758" v="748" actId="552"/>
          <ac:picMkLst>
            <pc:docMk/>
            <pc:sldMk cId="3525193349" sldId="277"/>
            <ac:picMk id="11" creationId="{03493FC3-29D6-80BC-C00E-47DA0C602E25}"/>
          </ac:picMkLst>
        </pc:picChg>
        <pc:picChg chg="add mod">
          <ac:chgData name="Darius Kuddo" userId="da7555aa-d650-4d73-b00b-d01e713f1329" providerId="ADAL" clId="{9A4B509C-EEE7-485A-994E-5919214B754D}" dt="2025-02-20T01:00:27.409" v="750" actId="1035"/>
          <ac:picMkLst>
            <pc:docMk/>
            <pc:sldMk cId="3525193349" sldId="277"/>
            <ac:picMk id="12" creationId="{0C8BBEE8-9C6F-48AF-B6FA-61E35A63347A}"/>
          </ac:picMkLst>
        </pc:picChg>
      </pc:sldChg>
      <pc:sldChg chg="del">
        <pc:chgData name="Darius Kuddo" userId="da7555aa-d650-4d73-b00b-d01e713f1329" providerId="ADAL" clId="{9A4B509C-EEE7-485A-994E-5919214B754D}" dt="2025-02-20T00:54:49.989" v="338" actId="47"/>
        <pc:sldMkLst>
          <pc:docMk/>
          <pc:sldMk cId="1059867205" sldId="278"/>
        </pc:sldMkLst>
      </pc:sldChg>
      <pc:sldChg chg="addSp delSp modSp add mod">
        <pc:chgData name="Darius Kuddo" userId="da7555aa-d650-4d73-b00b-d01e713f1329" providerId="ADAL" clId="{9A4B509C-EEE7-485A-994E-5919214B754D}" dt="2025-02-20T18:37:36.077" v="4841" actId="20577"/>
        <pc:sldMkLst>
          <pc:docMk/>
          <pc:sldMk cId="4129805218" sldId="278"/>
        </pc:sldMkLst>
        <pc:spChg chg="mod">
          <ac:chgData name="Darius Kuddo" userId="da7555aa-d650-4d73-b00b-d01e713f1329" providerId="ADAL" clId="{9A4B509C-EEE7-485A-994E-5919214B754D}" dt="2025-02-20T18:37:36.077" v="4841" actId="20577"/>
          <ac:spMkLst>
            <pc:docMk/>
            <pc:sldMk cId="4129805218" sldId="278"/>
            <ac:spMk id="6" creationId="{B4CAD19F-9D99-B27C-13D6-04745D392D18}"/>
          </ac:spMkLst>
        </pc:spChg>
        <pc:graphicFrameChg chg="del modGraphic">
          <ac:chgData name="Darius Kuddo" userId="da7555aa-d650-4d73-b00b-d01e713f1329" providerId="ADAL" clId="{9A4B509C-EEE7-485A-994E-5919214B754D}" dt="2025-02-20T01:08:41.139" v="1232" actId="478"/>
          <ac:graphicFrameMkLst>
            <pc:docMk/>
            <pc:sldMk cId="4129805218" sldId="278"/>
            <ac:graphicFrameMk id="2" creationId="{E1D23DBB-80C0-40D5-8DB0-58BFC3C86952}"/>
          </ac:graphicFrameMkLst>
        </pc:graphicFrameChg>
        <pc:graphicFrameChg chg="add mod modGraphic">
          <ac:chgData name="Darius Kuddo" userId="da7555aa-d650-4d73-b00b-d01e713f1329" providerId="ADAL" clId="{9A4B509C-EEE7-485A-994E-5919214B754D}" dt="2025-02-20T02:28:46.718" v="4604"/>
          <ac:graphicFrameMkLst>
            <pc:docMk/>
            <pc:sldMk cId="4129805218" sldId="278"/>
            <ac:graphicFrameMk id="15" creationId="{7C2D289F-D9B6-E1A2-57B1-D22F5492EB7E}"/>
          </ac:graphicFrameMkLst>
        </pc:graphicFrameChg>
        <pc:picChg chg="del">
          <ac:chgData name="Darius Kuddo" userId="da7555aa-d650-4d73-b00b-d01e713f1329" providerId="ADAL" clId="{9A4B509C-EEE7-485A-994E-5919214B754D}" dt="2025-02-20T01:01:17.642" v="772" actId="478"/>
          <ac:picMkLst>
            <pc:docMk/>
            <pc:sldMk cId="4129805218" sldId="278"/>
            <ac:picMk id="3" creationId="{7356C8BC-EE01-1A59-A6C3-1C89F343CB82}"/>
          </ac:picMkLst>
        </pc:picChg>
        <pc:picChg chg="del">
          <ac:chgData name="Darius Kuddo" userId="da7555aa-d650-4d73-b00b-d01e713f1329" providerId="ADAL" clId="{9A4B509C-EEE7-485A-994E-5919214B754D}" dt="2025-02-20T01:01:17.642" v="772" actId="478"/>
          <ac:picMkLst>
            <pc:docMk/>
            <pc:sldMk cId="4129805218" sldId="278"/>
            <ac:picMk id="4" creationId="{0C31B95C-295D-B77C-BE94-2022CFB8198B}"/>
          </ac:picMkLst>
        </pc:picChg>
        <pc:picChg chg="mod">
          <ac:chgData name="Darius Kuddo" userId="da7555aa-d650-4d73-b00b-d01e713f1329" providerId="ADAL" clId="{9A4B509C-EEE7-485A-994E-5919214B754D}" dt="2025-02-20T01:01:48.743" v="831" actId="552"/>
          <ac:picMkLst>
            <pc:docMk/>
            <pc:sldMk cId="4129805218" sldId="278"/>
            <ac:picMk id="5" creationId="{74622115-A10F-9E5E-B861-5E24A8FDB369}"/>
          </ac:picMkLst>
        </pc:picChg>
        <pc:picChg chg="del">
          <ac:chgData name="Darius Kuddo" userId="da7555aa-d650-4d73-b00b-d01e713f1329" providerId="ADAL" clId="{9A4B509C-EEE7-485A-994E-5919214B754D}" dt="2025-02-20T01:01:17.642" v="772" actId="478"/>
          <ac:picMkLst>
            <pc:docMk/>
            <pc:sldMk cId="4129805218" sldId="278"/>
            <ac:picMk id="7" creationId="{7D02A820-41AC-AF11-508A-95B7F605AFE3}"/>
          </ac:picMkLst>
        </pc:picChg>
        <pc:picChg chg="del">
          <ac:chgData name="Darius Kuddo" userId="da7555aa-d650-4d73-b00b-d01e713f1329" providerId="ADAL" clId="{9A4B509C-EEE7-485A-994E-5919214B754D}" dt="2025-02-20T01:01:17.642" v="772" actId="478"/>
          <ac:picMkLst>
            <pc:docMk/>
            <pc:sldMk cId="4129805218" sldId="278"/>
            <ac:picMk id="8" creationId="{28291D4F-1FB2-553F-5527-59CB7BE83F73}"/>
          </ac:picMkLst>
        </pc:picChg>
        <pc:picChg chg="del">
          <ac:chgData name="Darius Kuddo" userId="da7555aa-d650-4d73-b00b-d01e713f1329" providerId="ADAL" clId="{9A4B509C-EEE7-485A-994E-5919214B754D}" dt="2025-02-20T01:01:17.642" v="772" actId="478"/>
          <ac:picMkLst>
            <pc:docMk/>
            <pc:sldMk cId="4129805218" sldId="278"/>
            <ac:picMk id="9" creationId="{3508CB57-E817-D836-7473-473CA1382F2C}"/>
          </ac:picMkLst>
        </pc:picChg>
        <pc:picChg chg="del">
          <ac:chgData name="Darius Kuddo" userId="da7555aa-d650-4d73-b00b-d01e713f1329" providerId="ADAL" clId="{9A4B509C-EEE7-485A-994E-5919214B754D}" dt="2025-02-20T01:01:17.642" v="772" actId="478"/>
          <ac:picMkLst>
            <pc:docMk/>
            <pc:sldMk cId="4129805218" sldId="278"/>
            <ac:picMk id="10" creationId="{B5D4050E-0925-9C16-589D-748D720C6732}"/>
          </ac:picMkLst>
        </pc:picChg>
        <pc:picChg chg="del">
          <ac:chgData name="Darius Kuddo" userId="da7555aa-d650-4d73-b00b-d01e713f1329" providerId="ADAL" clId="{9A4B509C-EEE7-485A-994E-5919214B754D}" dt="2025-02-20T01:01:17.642" v="772" actId="478"/>
          <ac:picMkLst>
            <pc:docMk/>
            <pc:sldMk cId="4129805218" sldId="278"/>
            <ac:picMk id="11" creationId="{2E6A9162-F12E-469E-F341-35E7B46FD5E3}"/>
          </ac:picMkLst>
        </pc:picChg>
        <pc:picChg chg="del">
          <ac:chgData name="Darius Kuddo" userId="da7555aa-d650-4d73-b00b-d01e713f1329" providerId="ADAL" clId="{9A4B509C-EEE7-485A-994E-5919214B754D}" dt="2025-02-20T01:01:17.642" v="772" actId="478"/>
          <ac:picMkLst>
            <pc:docMk/>
            <pc:sldMk cId="4129805218" sldId="278"/>
            <ac:picMk id="12" creationId="{317B1F07-0D19-67D0-E8D8-049521685BC2}"/>
          </ac:picMkLst>
        </pc:picChg>
        <pc:picChg chg="add mod">
          <ac:chgData name="Darius Kuddo" userId="da7555aa-d650-4d73-b00b-d01e713f1329" providerId="ADAL" clId="{9A4B509C-EEE7-485A-994E-5919214B754D}" dt="2025-02-20T01:01:37.865" v="824" actId="1035"/>
          <ac:picMkLst>
            <pc:docMk/>
            <pc:sldMk cId="4129805218" sldId="278"/>
            <ac:picMk id="13" creationId="{B0AEB72F-5427-FA28-AE93-CDCF770DD301}"/>
          </ac:picMkLst>
        </pc:picChg>
        <pc:picChg chg="add mod">
          <ac:chgData name="Darius Kuddo" userId="da7555aa-d650-4d73-b00b-d01e713f1329" providerId="ADAL" clId="{9A4B509C-EEE7-485A-994E-5919214B754D}" dt="2025-02-20T18:36:39.480" v="4746" actId="1036"/>
          <ac:picMkLst>
            <pc:docMk/>
            <pc:sldMk cId="4129805218" sldId="278"/>
            <ac:picMk id="14" creationId="{16A52908-D4BA-5D1A-E5B1-EE46F4F330F1}"/>
          </ac:picMkLst>
        </pc:picChg>
      </pc:sldChg>
      <pc:sldChg chg="del">
        <pc:chgData name="Darius Kuddo" userId="da7555aa-d650-4d73-b00b-d01e713f1329" providerId="ADAL" clId="{9A4B509C-EEE7-485A-994E-5919214B754D}" dt="2025-02-20T00:54:49.989" v="338" actId="47"/>
        <pc:sldMkLst>
          <pc:docMk/>
          <pc:sldMk cId="1899738778" sldId="279"/>
        </pc:sldMkLst>
      </pc:sldChg>
      <pc:sldChg chg="addSp delSp modSp add mod">
        <pc:chgData name="Darius Kuddo" userId="da7555aa-d650-4d73-b00b-d01e713f1329" providerId="ADAL" clId="{9A4B509C-EEE7-485A-994E-5919214B754D}" dt="2025-02-20T18:38:44.128" v="4934" actId="20577"/>
        <pc:sldMkLst>
          <pc:docMk/>
          <pc:sldMk cId="2586125665" sldId="279"/>
        </pc:sldMkLst>
        <pc:spChg chg="mod">
          <ac:chgData name="Darius Kuddo" userId="da7555aa-d650-4d73-b00b-d01e713f1329" providerId="ADAL" clId="{9A4B509C-EEE7-485A-994E-5919214B754D}" dt="2025-02-20T18:38:44.128" v="4934" actId="20577"/>
          <ac:spMkLst>
            <pc:docMk/>
            <pc:sldMk cId="2586125665" sldId="279"/>
            <ac:spMk id="6" creationId="{0B403573-2A36-E6D4-139D-1CCE46586E41}"/>
          </ac:spMkLst>
        </pc:spChg>
        <pc:graphicFrameChg chg="mod modGraphic">
          <ac:chgData name="Darius Kuddo" userId="da7555aa-d650-4d73-b00b-d01e713f1329" providerId="ADAL" clId="{9A4B509C-EEE7-485A-994E-5919214B754D}" dt="2025-02-20T02:28:46.718" v="4604"/>
          <ac:graphicFrameMkLst>
            <pc:docMk/>
            <pc:sldMk cId="2586125665" sldId="279"/>
            <ac:graphicFrameMk id="2" creationId="{FE6EF395-A47D-0957-1B8C-72DA967E6BB8}"/>
          </ac:graphicFrameMkLst>
        </pc:graphicFrameChg>
        <pc:picChg chg="add mod">
          <ac:chgData name="Darius Kuddo" userId="da7555aa-d650-4d73-b00b-d01e713f1329" providerId="ADAL" clId="{9A4B509C-EEE7-485A-994E-5919214B754D}" dt="2025-02-20T01:03:24.458" v="954" actId="552"/>
          <ac:picMkLst>
            <pc:docMk/>
            <pc:sldMk cId="2586125665" sldId="279"/>
            <ac:picMk id="3" creationId="{8FA25377-08F6-612B-0935-92B261F926BC}"/>
          </ac:picMkLst>
        </pc:picChg>
        <pc:picChg chg="add mod">
          <ac:chgData name="Darius Kuddo" userId="da7555aa-d650-4d73-b00b-d01e713f1329" providerId="ADAL" clId="{9A4B509C-EEE7-485A-994E-5919214B754D}" dt="2025-02-20T18:38:15.991" v="4863" actId="1035"/>
          <ac:picMkLst>
            <pc:docMk/>
            <pc:sldMk cId="2586125665" sldId="279"/>
            <ac:picMk id="4" creationId="{FE40D84D-1A48-7802-8754-D0CFD774388E}"/>
          </ac:picMkLst>
        </pc:picChg>
        <pc:picChg chg="mod">
          <ac:chgData name="Darius Kuddo" userId="da7555aa-d650-4d73-b00b-d01e713f1329" providerId="ADAL" clId="{9A4B509C-EEE7-485A-994E-5919214B754D}" dt="2025-02-20T01:03:20.901" v="951" actId="1076"/>
          <ac:picMkLst>
            <pc:docMk/>
            <pc:sldMk cId="2586125665" sldId="279"/>
            <ac:picMk id="5" creationId="{71B5E804-289A-83C8-A073-D570215A2F11}"/>
          </ac:picMkLst>
        </pc:picChg>
        <pc:picChg chg="add mod">
          <ac:chgData name="Darius Kuddo" userId="da7555aa-d650-4d73-b00b-d01e713f1329" providerId="ADAL" clId="{9A4B509C-EEE7-485A-994E-5919214B754D}" dt="2025-02-20T18:38:18.180" v="4873" actId="1035"/>
          <ac:picMkLst>
            <pc:docMk/>
            <pc:sldMk cId="2586125665" sldId="279"/>
            <ac:picMk id="7" creationId="{081DE633-E2CB-EEAA-2563-6FBBA900FEE5}"/>
          </ac:picMkLst>
        </pc:picChg>
        <pc:picChg chg="add mod">
          <ac:chgData name="Darius Kuddo" userId="da7555aa-d650-4d73-b00b-d01e713f1329" providerId="ADAL" clId="{9A4B509C-EEE7-485A-994E-5919214B754D}" dt="2025-02-20T18:38:23.736" v="4895" actId="1035"/>
          <ac:picMkLst>
            <pc:docMk/>
            <pc:sldMk cId="2586125665" sldId="279"/>
            <ac:picMk id="8" creationId="{2AE89B75-6B9E-25F1-2E73-6E225E07DD7B}"/>
          </ac:picMkLst>
        </pc:picChg>
        <pc:picChg chg="add mod">
          <ac:chgData name="Darius Kuddo" userId="da7555aa-d650-4d73-b00b-d01e713f1329" providerId="ADAL" clId="{9A4B509C-EEE7-485A-994E-5919214B754D}" dt="2025-02-20T18:38:28.004" v="4908" actId="1035"/>
          <ac:picMkLst>
            <pc:docMk/>
            <pc:sldMk cId="2586125665" sldId="279"/>
            <ac:picMk id="9" creationId="{7F3611CD-6A53-D235-17B0-A51F28503085}"/>
          </ac:picMkLst>
        </pc:picChg>
        <pc:picChg chg="del">
          <ac:chgData name="Darius Kuddo" userId="da7555aa-d650-4d73-b00b-d01e713f1329" providerId="ADAL" clId="{9A4B509C-EEE7-485A-994E-5919214B754D}" dt="2025-02-20T01:03:01.466" v="859" actId="478"/>
          <ac:picMkLst>
            <pc:docMk/>
            <pc:sldMk cId="2586125665" sldId="279"/>
            <ac:picMk id="13" creationId="{0B55E513-45E0-5398-557B-DA67CF2A6AB7}"/>
          </ac:picMkLst>
        </pc:picChg>
        <pc:picChg chg="del">
          <ac:chgData name="Darius Kuddo" userId="da7555aa-d650-4d73-b00b-d01e713f1329" providerId="ADAL" clId="{9A4B509C-EEE7-485A-994E-5919214B754D}" dt="2025-02-20T01:03:02.107" v="860" actId="478"/>
          <ac:picMkLst>
            <pc:docMk/>
            <pc:sldMk cId="2586125665" sldId="279"/>
            <ac:picMk id="14" creationId="{FD8991DA-6136-A246-0D1F-D20F71D5EAC2}"/>
          </ac:picMkLst>
        </pc:picChg>
      </pc:sldChg>
      <pc:sldChg chg="addSp delSp modSp add mod">
        <pc:chgData name="Darius Kuddo" userId="da7555aa-d650-4d73-b00b-d01e713f1329" providerId="ADAL" clId="{9A4B509C-EEE7-485A-994E-5919214B754D}" dt="2025-02-20T18:39:24.056" v="4949" actId="20577"/>
        <pc:sldMkLst>
          <pc:docMk/>
          <pc:sldMk cId="2202896436" sldId="280"/>
        </pc:sldMkLst>
        <pc:spChg chg="mod">
          <ac:chgData name="Darius Kuddo" userId="da7555aa-d650-4d73-b00b-d01e713f1329" providerId="ADAL" clId="{9A4B509C-EEE7-485A-994E-5919214B754D}" dt="2025-02-20T18:39:24.056" v="4949" actId="20577"/>
          <ac:spMkLst>
            <pc:docMk/>
            <pc:sldMk cId="2202896436" sldId="280"/>
            <ac:spMk id="6" creationId="{22D9A00D-B66D-CF27-6D43-EC0BF7F56E7F}"/>
          </ac:spMkLst>
        </pc:spChg>
        <pc:graphicFrameChg chg="mod modGraphic">
          <ac:chgData name="Darius Kuddo" userId="da7555aa-d650-4d73-b00b-d01e713f1329" providerId="ADAL" clId="{9A4B509C-EEE7-485A-994E-5919214B754D}" dt="2025-02-20T02:28:46.718" v="4604"/>
          <ac:graphicFrameMkLst>
            <pc:docMk/>
            <pc:sldMk cId="2202896436" sldId="280"/>
            <ac:graphicFrameMk id="2" creationId="{5AC5586C-1C89-1E7A-E967-CDE13D520E92}"/>
          </ac:graphicFrameMkLst>
        </pc:graphicFrameChg>
        <pc:picChg chg="del">
          <ac:chgData name="Darius Kuddo" userId="da7555aa-d650-4d73-b00b-d01e713f1329" providerId="ADAL" clId="{9A4B509C-EEE7-485A-994E-5919214B754D}" dt="2025-02-20T01:04:31.396" v="993" actId="478"/>
          <ac:picMkLst>
            <pc:docMk/>
            <pc:sldMk cId="2202896436" sldId="280"/>
            <ac:picMk id="3" creationId="{046C6A25-727D-576D-38A6-A90C5B13E36B}"/>
          </ac:picMkLst>
        </pc:picChg>
        <pc:picChg chg="mod">
          <ac:chgData name="Darius Kuddo" userId="da7555aa-d650-4d73-b00b-d01e713f1329" providerId="ADAL" clId="{9A4B509C-EEE7-485A-994E-5919214B754D}" dt="2025-02-20T01:05:07.331" v="1042" actId="552"/>
          <ac:picMkLst>
            <pc:docMk/>
            <pc:sldMk cId="2202896436" sldId="280"/>
            <ac:picMk id="4" creationId="{5A72E553-8D73-E176-4633-57CA78FBA05D}"/>
          </ac:picMkLst>
        </pc:picChg>
        <pc:picChg chg="del">
          <ac:chgData name="Darius Kuddo" userId="da7555aa-d650-4d73-b00b-d01e713f1329" providerId="ADAL" clId="{9A4B509C-EEE7-485A-994E-5919214B754D}" dt="2025-02-20T01:04:32.163" v="994" actId="478"/>
          <ac:picMkLst>
            <pc:docMk/>
            <pc:sldMk cId="2202896436" sldId="280"/>
            <ac:picMk id="7" creationId="{DCECA1D5-F8E8-FB01-3756-ED053D675577}"/>
          </ac:picMkLst>
        </pc:picChg>
        <pc:picChg chg="del">
          <ac:chgData name="Darius Kuddo" userId="da7555aa-d650-4d73-b00b-d01e713f1329" providerId="ADAL" clId="{9A4B509C-EEE7-485A-994E-5919214B754D}" dt="2025-02-20T01:04:32.163" v="994" actId="478"/>
          <ac:picMkLst>
            <pc:docMk/>
            <pc:sldMk cId="2202896436" sldId="280"/>
            <ac:picMk id="8" creationId="{5570CBCE-6FC2-78CE-3D3A-F7F2326DD9CE}"/>
          </ac:picMkLst>
        </pc:picChg>
        <pc:picChg chg="del">
          <ac:chgData name="Darius Kuddo" userId="da7555aa-d650-4d73-b00b-d01e713f1329" providerId="ADAL" clId="{9A4B509C-EEE7-485A-994E-5919214B754D}" dt="2025-02-20T01:04:32.163" v="994" actId="478"/>
          <ac:picMkLst>
            <pc:docMk/>
            <pc:sldMk cId="2202896436" sldId="280"/>
            <ac:picMk id="9" creationId="{CB8A10B5-30C2-E86E-69DF-BED7D40F98FA}"/>
          </ac:picMkLst>
        </pc:picChg>
        <pc:picChg chg="add mod">
          <ac:chgData name="Darius Kuddo" userId="da7555aa-d650-4d73-b00b-d01e713f1329" providerId="ADAL" clId="{9A4B509C-EEE7-485A-994E-5919214B754D}" dt="2025-02-20T01:04:42.548" v="1025" actId="1035"/>
          <ac:picMkLst>
            <pc:docMk/>
            <pc:sldMk cId="2202896436" sldId="280"/>
            <ac:picMk id="10" creationId="{1CA34E9E-80A2-3043-7594-3F61260AF4FC}"/>
          </ac:picMkLst>
        </pc:picChg>
        <pc:picChg chg="add mod">
          <ac:chgData name="Darius Kuddo" userId="da7555aa-d650-4d73-b00b-d01e713f1329" providerId="ADAL" clId="{9A4B509C-EEE7-485A-994E-5919214B754D}" dt="2025-02-20T01:05:09.396" v="1045" actId="1035"/>
          <ac:picMkLst>
            <pc:docMk/>
            <pc:sldMk cId="2202896436" sldId="280"/>
            <ac:picMk id="11" creationId="{B5FDEAEA-E4B0-E72E-9FEF-AAD3368B2DDE}"/>
          </ac:picMkLst>
        </pc:picChg>
      </pc:sldChg>
      <pc:sldChg chg="addSp delSp modSp add mod">
        <pc:chgData name="Darius Kuddo" userId="da7555aa-d650-4d73-b00b-d01e713f1329" providerId="ADAL" clId="{9A4B509C-EEE7-485A-994E-5919214B754D}" dt="2025-02-20T18:39:33.721" v="4954" actId="20577"/>
        <pc:sldMkLst>
          <pc:docMk/>
          <pc:sldMk cId="1276080523" sldId="281"/>
        </pc:sldMkLst>
        <pc:spChg chg="mod">
          <ac:chgData name="Darius Kuddo" userId="da7555aa-d650-4d73-b00b-d01e713f1329" providerId="ADAL" clId="{9A4B509C-EEE7-485A-994E-5919214B754D}" dt="2025-02-20T18:39:33.721" v="4954" actId="20577"/>
          <ac:spMkLst>
            <pc:docMk/>
            <pc:sldMk cId="1276080523" sldId="281"/>
            <ac:spMk id="6" creationId="{AC53D5AF-99AF-0943-C02C-C33FC5CD1656}"/>
          </ac:spMkLst>
        </pc:spChg>
        <pc:graphicFrameChg chg="mod modGraphic">
          <ac:chgData name="Darius Kuddo" userId="da7555aa-d650-4d73-b00b-d01e713f1329" providerId="ADAL" clId="{9A4B509C-EEE7-485A-994E-5919214B754D}" dt="2025-02-20T02:28:46.718" v="4604"/>
          <ac:graphicFrameMkLst>
            <pc:docMk/>
            <pc:sldMk cId="1276080523" sldId="281"/>
            <ac:graphicFrameMk id="2" creationId="{0DCA93CB-22C0-9906-C768-DFCEE9C66157}"/>
          </ac:graphicFrameMkLst>
        </pc:graphicFrameChg>
        <pc:picChg chg="add mod">
          <ac:chgData name="Darius Kuddo" userId="da7555aa-d650-4d73-b00b-d01e713f1329" providerId="ADAL" clId="{9A4B509C-EEE7-485A-994E-5919214B754D}" dt="2025-02-20T01:06:30.758" v="1100" actId="552"/>
          <ac:picMkLst>
            <pc:docMk/>
            <pc:sldMk cId="1276080523" sldId="281"/>
            <ac:picMk id="3" creationId="{BD52D6F2-D212-6BCD-6D8A-781680C239E3}"/>
          </ac:picMkLst>
        </pc:picChg>
        <pc:picChg chg="mod">
          <ac:chgData name="Darius Kuddo" userId="da7555aa-d650-4d73-b00b-d01e713f1329" providerId="ADAL" clId="{9A4B509C-EEE7-485A-994E-5919214B754D}" dt="2025-02-20T01:06:37.011" v="1103" actId="552"/>
          <ac:picMkLst>
            <pc:docMk/>
            <pc:sldMk cId="1276080523" sldId="281"/>
            <ac:picMk id="4" creationId="{3EDA693C-A8AA-605E-3F95-693950A967D8}"/>
          </ac:picMkLst>
        </pc:picChg>
        <pc:picChg chg="add mod">
          <ac:chgData name="Darius Kuddo" userId="da7555aa-d650-4d73-b00b-d01e713f1329" providerId="ADAL" clId="{9A4B509C-EEE7-485A-994E-5919214B754D}" dt="2025-02-20T01:06:46.561" v="1112" actId="552"/>
          <ac:picMkLst>
            <pc:docMk/>
            <pc:sldMk cId="1276080523" sldId="281"/>
            <ac:picMk id="7" creationId="{8E5D0E8C-20BB-E279-408C-3F22BBB23A58}"/>
          </ac:picMkLst>
        </pc:picChg>
        <pc:picChg chg="add mod">
          <ac:chgData name="Darius Kuddo" userId="da7555aa-d650-4d73-b00b-d01e713f1329" providerId="ADAL" clId="{9A4B509C-EEE7-485A-994E-5919214B754D}" dt="2025-02-20T01:06:55.974" v="1119" actId="552"/>
          <ac:picMkLst>
            <pc:docMk/>
            <pc:sldMk cId="1276080523" sldId="281"/>
            <ac:picMk id="8" creationId="{2A972EB7-5B59-B825-31AC-A2FBD475FAE0}"/>
          </ac:picMkLst>
        </pc:picChg>
        <pc:picChg chg="add mod">
          <ac:chgData name="Darius Kuddo" userId="da7555aa-d650-4d73-b00b-d01e713f1329" providerId="ADAL" clId="{9A4B509C-EEE7-485A-994E-5919214B754D}" dt="2025-02-20T01:06:55.974" v="1119" actId="552"/>
          <ac:picMkLst>
            <pc:docMk/>
            <pc:sldMk cId="1276080523" sldId="281"/>
            <ac:picMk id="9" creationId="{A18EBD4D-9469-6A1A-224B-2EF9489CA6D6}"/>
          </ac:picMkLst>
        </pc:picChg>
        <pc:picChg chg="del">
          <ac:chgData name="Darius Kuddo" userId="da7555aa-d650-4d73-b00b-d01e713f1329" providerId="ADAL" clId="{9A4B509C-EEE7-485A-994E-5919214B754D}" dt="2025-02-20T01:06:17.746" v="1070" actId="478"/>
          <ac:picMkLst>
            <pc:docMk/>
            <pc:sldMk cId="1276080523" sldId="281"/>
            <ac:picMk id="10" creationId="{AF5FEBAC-06C4-15C6-ED93-03AF2951D42E}"/>
          </ac:picMkLst>
        </pc:picChg>
        <pc:picChg chg="del">
          <ac:chgData name="Darius Kuddo" userId="da7555aa-d650-4d73-b00b-d01e713f1329" providerId="ADAL" clId="{9A4B509C-EEE7-485A-994E-5919214B754D}" dt="2025-02-20T01:06:22.149" v="1097" actId="478"/>
          <ac:picMkLst>
            <pc:docMk/>
            <pc:sldMk cId="1276080523" sldId="281"/>
            <ac:picMk id="11" creationId="{EBEC50FC-C2BC-247C-B464-2272709EFFD8}"/>
          </ac:picMkLst>
        </pc:picChg>
      </pc:sldChg>
      <pc:sldChg chg="addSp delSp modSp add mod">
        <pc:chgData name="Darius Kuddo" userId="da7555aa-d650-4d73-b00b-d01e713f1329" providerId="ADAL" clId="{9A4B509C-EEE7-485A-994E-5919214B754D}" dt="2025-02-20T18:39:47.399" v="4960" actId="20577"/>
        <pc:sldMkLst>
          <pc:docMk/>
          <pc:sldMk cId="494266953" sldId="282"/>
        </pc:sldMkLst>
        <pc:spChg chg="mod">
          <ac:chgData name="Darius Kuddo" userId="da7555aa-d650-4d73-b00b-d01e713f1329" providerId="ADAL" clId="{9A4B509C-EEE7-485A-994E-5919214B754D}" dt="2025-02-20T18:39:47.399" v="4960" actId="20577"/>
          <ac:spMkLst>
            <pc:docMk/>
            <pc:sldMk cId="494266953" sldId="282"/>
            <ac:spMk id="6" creationId="{673C83DE-ECC1-97C1-F149-05400DB4B7B7}"/>
          </ac:spMkLst>
        </pc:spChg>
        <pc:graphicFrameChg chg="mod modGraphic">
          <ac:chgData name="Darius Kuddo" userId="da7555aa-d650-4d73-b00b-d01e713f1329" providerId="ADAL" clId="{9A4B509C-EEE7-485A-994E-5919214B754D}" dt="2025-02-20T02:28:46.718" v="4604"/>
          <ac:graphicFrameMkLst>
            <pc:docMk/>
            <pc:sldMk cId="494266953" sldId="282"/>
            <ac:graphicFrameMk id="2" creationId="{3FF47938-D118-EFE8-81CE-1498F08D007E}"/>
          </ac:graphicFrameMkLst>
        </pc:graphicFrameChg>
        <pc:picChg chg="mod">
          <ac:chgData name="Darius Kuddo" userId="da7555aa-d650-4d73-b00b-d01e713f1329" providerId="ADAL" clId="{9A4B509C-EEE7-485A-994E-5919214B754D}" dt="2025-02-20T01:08:11.652" v="1220" actId="552"/>
          <ac:picMkLst>
            <pc:docMk/>
            <pc:sldMk cId="494266953" sldId="282"/>
            <ac:picMk id="3" creationId="{1A48F1D5-A22D-B9FB-47C2-C74DA0D34C94}"/>
          </ac:picMkLst>
        </pc:picChg>
        <pc:picChg chg="del">
          <ac:chgData name="Darius Kuddo" userId="da7555aa-d650-4d73-b00b-d01e713f1329" providerId="ADAL" clId="{9A4B509C-EEE7-485A-994E-5919214B754D}" dt="2025-02-20T01:07:55.383" v="1156" actId="478"/>
          <ac:picMkLst>
            <pc:docMk/>
            <pc:sldMk cId="494266953" sldId="282"/>
            <ac:picMk id="4" creationId="{5033C88E-6535-8EEB-9B45-3CCD06ECC830}"/>
          </ac:picMkLst>
        </pc:picChg>
        <pc:picChg chg="mod">
          <ac:chgData name="Darius Kuddo" userId="da7555aa-d650-4d73-b00b-d01e713f1329" providerId="ADAL" clId="{9A4B509C-EEE7-485A-994E-5919214B754D}" dt="2025-02-20T01:07:58.375" v="1186" actId="1035"/>
          <ac:picMkLst>
            <pc:docMk/>
            <pc:sldMk cId="494266953" sldId="282"/>
            <ac:picMk id="7" creationId="{0620C0FD-C051-DBC0-21D5-0DEE26116F44}"/>
          </ac:picMkLst>
        </pc:picChg>
        <pc:picChg chg="mod">
          <ac:chgData name="Darius Kuddo" userId="da7555aa-d650-4d73-b00b-d01e713f1329" providerId="ADAL" clId="{9A4B509C-EEE7-485A-994E-5919214B754D}" dt="2025-02-20T01:08:02.885" v="1217" actId="1036"/>
          <ac:picMkLst>
            <pc:docMk/>
            <pc:sldMk cId="494266953" sldId="282"/>
            <ac:picMk id="8" creationId="{E704B250-CF55-4C21-E5B4-F52A5BB0D6D0}"/>
          </ac:picMkLst>
        </pc:picChg>
        <pc:picChg chg="del">
          <ac:chgData name="Darius Kuddo" userId="da7555aa-d650-4d73-b00b-d01e713f1329" providerId="ADAL" clId="{9A4B509C-EEE7-485A-994E-5919214B754D}" dt="2025-02-20T01:08:15.734" v="1224" actId="478"/>
          <ac:picMkLst>
            <pc:docMk/>
            <pc:sldMk cId="494266953" sldId="282"/>
            <ac:picMk id="9" creationId="{6D592048-64F4-E485-4D70-BD435D33804B}"/>
          </ac:picMkLst>
        </pc:picChg>
        <pc:picChg chg="add mod">
          <ac:chgData name="Darius Kuddo" userId="da7555aa-d650-4d73-b00b-d01e713f1329" providerId="ADAL" clId="{9A4B509C-EEE7-485A-994E-5919214B754D}" dt="2025-02-20T01:08:13.803" v="1223" actId="1036"/>
          <ac:picMkLst>
            <pc:docMk/>
            <pc:sldMk cId="494266953" sldId="282"/>
            <ac:picMk id="10" creationId="{1902B8A3-500B-ECF1-0DCC-6B3116FEC836}"/>
          </ac:picMkLst>
        </pc:picChg>
      </pc:sldChg>
      <pc:sldChg chg="modSp add mod">
        <pc:chgData name="Darius Kuddo" userId="da7555aa-d650-4d73-b00b-d01e713f1329" providerId="ADAL" clId="{9A4B509C-EEE7-485A-994E-5919214B754D}" dt="2025-02-20T18:40:57.616" v="4978" actId="2711"/>
        <pc:sldMkLst>
          <pc:docMk/>
          <pc:sldMk cId="550802713" sldId="1725"/>
        </pc:sldMkLst>
        <pc:spChg chg="mod">
          <ac:chgData name="Darius Kuddo" userId="da7555aa-d650-4d73-b00b-d01e713f1329" providerId="ADAL" clId="{9A4B509C-EEE7-485A-994E-5919214B754D}" dt="2025-02-20T18:40:57.616" v="4978" actId="2711"/>
          <ac:spMkLst>
            <pc:docMk/>
            <pc:sldMk cId="550802713" sldId="1725"/>
            <ac:spMk id="8" creationId="{02C3C26B-8197-6BA1-EEBD-F38DEAAC7A6C}"/>
          </ac:spMkLst>
        </pc:spChg>
        <pc:spChg chg="mod">
          <ac:chgData name="Darius Kuddo" userId="da7555aa-d650-4d73-b00b-d01e713f1329" providerId="ADAL" clId="{9A4B509C-EEE7-485A-994E-5919214B754D}" dt="2025-02-20T18:40:50.010" v="4977" actId="2711"/>
          <ac:spMkLst>
            <pc:docMk/>
            <pc:sldMk cId="550802713" sldId="1725"/>
            <ac:spMk id="9" creationId="{D267D366-DDA5-13B3-E717-3E5E72ED2946}"/>
          </ac:spMkLst>
        </pc:spChg>
        <pc:spChg chg="mod">
          <ac:chgData name="Darius Kuddo" userId="da7555aa-d650-4d73-b00b-d01e713f1329" providerId="ADAL" clId="{9A4B509C-EEE7-485A-994E-5919214B754D}" dt="2025-02-20T01:14:10.325" v="1261" actId="207"/>
          <ac:spMkLst>
            <pc:docMk/>
            <pc:sldMk cId="550802713" sldId="1725"/>
            <ac:spMk id="272" creationId="{D3C0297B-7648-4FE6-AE74-A6AE08D59E52}"/>
          </ac:spMkLst>
        </pc:spChg>
      </pc:sldChg>
      <pc:sldChg chg="addSp delSp modSp add mod">
        <pc:chgData name="Darius Kuddo" userId="da7555aa-d650-4d73-b00b-d01e713f1329" providerId="ADAL" clId="{9A4B509C-EEE7-485A-994E-5919214B754D}" dt="2025-02-20T02:28:46.718" v="4604"/>
        <pc:sldMkLst>
          <pc:docMk/>
          <pc:sldMk cId="925559711" sldId="1726"/>
        </pc:sldMkLst>
        <pc:spChg chg="add mod">
          <ac:chgData name="Darius Kuddo" userId="da7555aa-d650-4d73-b00b-d01e713f1329" providerId="ADAL" clId="{9A4B509C-EEE7-485A-994E-5919214B754D}" dt="2025-02-20T01:16:31.124" v="1299"/>
          <ac:spMkLst>
            <pc:docMk/>
            <pc:sldMk cId="925559711" sldId="1726"/>
            <ac:spMk id="4" creationId="{9B2AE9B1-75D4-E2F5-4F1E-A14805861698}"/>
          </ac:spMkLst>
        </pc:spChg>
        <pc:spChg chg="add mod">
          <ac:chgData name="Darius Kuddo" userId="da7555aa-d650-4d73-b00b-d01e713f1329" providerId="ADAL" clId="{9A4B509C-EEE7-485A-994E-5919214B754D}" dt="2025-02-20T01:16:31.124" v="1299"/>
          <ac:spMkLst>
            <pc:docMk/>
            <pc:sldMk cId="925559711" sldId="1726"/>
            <ac:spMk id="5" creationId="{A13525D0-614C-54FD-C32D-B3442882238B}"/>
          </ac:spMkLst>
        </pc:spChg>
        <pc:spChg chg="add mod">
          <ac:chgData name="Darius Kuddo" userId="da7555aa-d650-4d73-b00b-d01e713f1329" providerId="ADAL" clId="{9A4B509C-EEE7-485A-994E-5919214B754D}" dt="2025-02-20T01:16:31.124" v="1299"/>
          <ac:spMkLst>
            <pc:docMk/>
            <pc:sldMk cId="925559711" sldId="1726"/>
            <ac:spMk id="6" creationId="{D2CE55F4-3894-55CA-B94F-ABA4F0BF5597}"/>
          </ac:spMkLst>
        </pc:spChg>
        <pc:spChg chg="add mod">
          <ac:chgData name="Darius Kuddo" userId="da7555aa-d650-4d73-b00b-d01e713f1329" providerId="ADAL" clId="{9A4B509C-EEE7-485A-994E-5919214B754D}" dt="2025-02-20T01:16:31.124" v="1299"/>
          <ac:spMkLst>
            <pc:docMk/>
            <pc:sldMk cId="925559711" sldId="1726"/>
            <ac:spMk id="7" creationId="{1B1DF300-81A7-8371-7040-30C53EC8388F}"/>
          </ac:spMkLst>
        </pc:spChg>
        <pc:spChg chg="mod">
          <ac:chgData name="Darius Kuddo" userId="da7555aa-d650-4d73-b00b-d01e713f1329" providerId="ADAL" clId="{9A4B509C-EEE7-485A-994E-5919214B754D}" dt="2025-02-20T01:16:31.124" v="1299"/>
          <ac:spMkLst>
            <pc:docMk/>
            <pc:sldMk cId="925559711" sldId="1726"/>
            <ac:spMk id="11" creationId="{47673F88-A5E0-6827-0BCB-843263158194}"/>
          </ac:spMkLst>
        </pc:spChg>
        <pc:spChg chg="mod">
          <ac:chgData name="Darius Kuddo" userId="da7555aa-d650-4d73-b00b-d01e713f1329" providerId="ADAL" clId="{9A4B509C-EEE7-485A-994E-5919214B754D}" dt="2025-02-20T01:16:31.124" v="1299"/>
          <ac:spMkLst>
            <pc:docMk/>
            <pc:sldMk cId="925559711" sldId="1726"/>
            <ac:spMk id="12" creationId="{E9F591A0-561F-28A4-3E89-1217237B82A6}"/>
          </ac:spMkLst>
        </pc:spChg>
        <pc:spChg chg="mod ord topLvl">
          <ac:chgData name="Darius Kuddo" userId="da7555aa-d650-4d73-b00b-d01e713f1329" providerId="ADAL" clId="{9A4B509C-EEE7-485A-994E-5919214B754D}" dt="2025-02-20T01:25:52.184" v="1654" actId="165"/>
          <ac:spMkLst>
            <pc:docMk/>
            <pc:sldMk cId="925559711" sldId="1726"/>
            <ac:spMk id="19" creationId="{DE55D975-D344-81B8-0044-F679295E935C}"/>
          </ac:spMkLst>
        </pc:spChg>
        <pc:spChg chg="mod topLvl">
          <ac:chgData name="Darius Kuddo" userId="da7555aa-d650-4d73-b00b-d01e713f1329" providerId="ADAL" clId="{9A4B509C-EEE7-485A-994E-5919214B754D}" dt="2025-02-20T01:25:52.184" v="1654" actId="165"/>
          <ac:spMkLst>
            <pc:docMk/>
            <pc:sldMk cId="925559711" sldId="1726"/>
            <ac:spMk id="20" creationId="{767907D3-73FD-48BF-DB14-994B5CDF6ADF}"/>
          </ac:spMkLst>
        </pc:spChg>
        <pc:spChg chg="mod ord topLvl">
          <ac:chgData name="Darius Kuddo" userId="da7555aa-d650-4d73-b00b-d01e713f1329" providerId="ADAL" clId="{9A4B509C-EEE7-485A-994E-5919214B754D}" dt="2025-02-20T01:25:52.184" v="1654" actId="165"/>
          <ac:spMkLst>
            <pc:docMk/>
            <pc:sldMk cId="925559711" sldId="1726"/>
            <ac:spMk id="21" creationId="{905A952B-6062-F7C2-0321-C46B35DD0E87}"/>
          </ac:spMkLst>
        </pc:spChg>
        <pc:spChg chg="mod topLvl">
          <ac:chgData name="Darius Kuddo" userId="da7555aa-d650-4d73-b00b-d01e713f1329" providerId="ADAL" clId="{9A4B509C-EEE7-485A-994E-5919214B754D}" dt="2025-02-20T01:25:52.184" v="1654" actId="165"/>
          <ac:spMkLst>
            <pc:docMk/>
            <pc:sldMk cId="925559711" sldId="1726"/>
            <ac:spMk id="22" creationId="{E6C25FC4-9B71-586A-79EC-C01B04B5C4DA}"/>
          </ac:spMkLst>
        </pc:spChg>
        <pc:spChg chg="mod ord topLvl">
          <ac:chgData name="Darius Kuddo" userId="da7555aa-d650-4d73-b00b-d01e713f1329" providerId="ADAL" clId="{9A4B509C-EEE7-485A-994E-5919214B754D}" dt="2025-02-20T01:25:52.184" v="1654" actId="165"/>
          <ac:spMkLst>
            <pc:docMk/>
            <pc:sldMk cId="925559711" sldId="1726"/>
            <ac:spMk id="28" creationId="{55CE2621-8B38-8E54-538D-079BD3CFF304}"/>
          </ac:spMkLst>
        </pc:spChg>
        <pc:spChg chg="mod topLvl">
          <ac:chgData name="Darius Kuddo" userId="da7555aa-d650-4d73-b00b-d01e713f1329" providerId="ADAL" clId="{9A4B509C-EEE7-485A-994E-5919214B754D}" dt="2025-02-20T01:25:52.184" v="1654" actId="165"/>
          <ac:spMkLst>
            <pc:docMk/>
            <pc:sldMk cId="925559711" sldId="1726"/>
            <ac:spMk id="29" creationId="{808AABB7-BFE8-D584-D77F-3A70B0405C52}"/>
          </ac:spMkLst>
        </pc:spChg>
        <pc:spChg chg="add del mod">
          <ac:chgData name="Darius Kuddo" userId="da7555aa-d650-4d73-b00b-d01e713f1329" providerId="ADAL" clId="{9A4B509C-EEE7-485A-994E-5919214B754D}" dt="2025-02-20T01:25:01.398" v="1616" actId="478"/>
          <ac:spMkLst>
            <pc:docMk/>
            <pc:sldMk cId="925559711" sldId="1726"/>
            <ac:spMk id="33" creationId="{72FD48C8-0066-3990-F0E4-6860E7EA2691}"/>
          </ac:spMkLst>
        </pc:spChg>
        <pc:spChg chg="add del mod">
          <ac:chgData name="Darius Kuddo" userId="da7555aa-d650-4d73-b00b-d01e713f1329" providerId="ADAL" clId="{9A4B509C-EEE7-485A-994E-5919214B754D}" dt="2025-02-20T01:25:01.398" v="1616" actId="478"/>
          <ac:spMkLst>
            <pc:docMk/>
            <pc:sldMk cId="925559711" sldId="1726"/>
            <ac:spMk id="34" creationId="{FDFE3E62-D829-535F-42FA-27E565C36F26}"/>
          </ac:spMkLst>
        </pc:spChg>
        <pc:spChg chg="mod topLvl">
          <ac:chgData name="Darius Kuddo" userId="da7555aa-d650-4d73-b00b-d01e713f1329" providerId="ADAL" clId="{9A4B509C-EEE7-485A-994E-5919214B754D}" dt="2025-02-20T01:25:52.184" v="1654" actId="165"/>
          <ac:spMkLst>
            <pc:docMk/>
            <pc:sldMk cId="925559711" sldId="1726"/>
            <ac:spMk id="38" creationId="{3A1E493C-674B-D997-B392-9A1AA87BC381}"/>
          </ac:spMkLst>
        </pc:spChg>
        <pc:spChg chg="mod topLvl">
          <ac:chgData name="Darius Kuddo" userId="da7555aa-d650-4d73-b00b-d01e713f1329" providerId="ADAL" clId="{9A4B509C-EEE7-485A-994E-5919214B754D}" dt="2025-02-20T01:25:52.184" v="1654" actId="165"/>
          <ac:spMkLst>
            <pc:docMk/>
            <pc:sldMk cId="925559711" sldId="1726"/>
            <ac:spMk id="39" creationId="{6E543651-172E-4EC2-2910-491C1DB878AC}"/>
          </ac:spMkLst>
        </pc:spChg>
        <pc:spChg chg="mod ord topLvl">
          <ac:chgData name="Darius Kuddo" userId="da7555aa-d650-4d73-b00b-d01e713f1329" providerId="ADAL" clId="{9A4B509C-EEE7-485A-994E-5919214B754D}" dt="2025-02-20T01:25:52.184" v="1654" actId="165"/>
          <ac:spMkLst>
            <pc:docMk/>
            <pc:sldMk cId="925559711" sldId="1726"/>
            <ac:spMk id="40" creationId="{71C542E7-19EA-AFB1-78FE-17B199F6AC50}"/>
          </ac:spMkLst>
        </pc:spChg>
        <pc:spChg chg="mod topLvl">
          <ac:chgData name="Darius Kuddo" userId="da7555aa-d650-4d73-b00b-d01e713f1329" providerId="ADAL" clId="{9A4B509C-EEE7-485A-994E-5919214B754D}" dt="2025-02-20T01:25:52.184" v="1654" actId="165"/>
          <ac:spMkLst>
            <pc:docMk/>
            <pc:sldMk cId="925559711" sldId="1726"/>
            <ac:spMk id="41" creationId="{ED6139EF-8AE1-745F-94F6-99EE793BA02C}"/>
          </ac:spMkLst>
        </pc:spChg>
        <pc:spChg chg="mod ord topLvl">
          <ac:chgData name="Darius Kuddo" userId="da7555aa-d650-4d73-b00b-d01e713f1329" providerId="ADAL" clId="{9A4B509C-EEE7-485A-994E-5919214B754D}" dt="2025-02-20T01:25:52.184" v="1654" actId="165"/>
          <ac:spMkLst>
            <pc:docMk/>
            <pc:sldMk cId="925559711" sldId="1726"/>
            <ac:spMk id="42" creationId="{F1DDDFA1-A86E-2135-639B-CEAEE1B4B12C}"/>
          </ac:spMkLst>
        </pc:spChg>
        <pc:spChg chg="mod topLvl">
          <ac:chgData name="Darius Kuddo" userId="da7555aa-d650-4d73-b00b-d01e713f1329" providerId="ADAL" clId="{9A4B509C-EEE7-485A-994E-5919214B754D}" dt="2025-02-20T01:25:52.184" v="1654" actId="165"/>
          <ac:spMkLst>
            <pc:docMk/>
            <pc:sldMk cId="925559711" sldId="1726"/>
            <ac:spMk id="43" creationId="{DA39AE84-FFCC-7C50-2034-56C15B560EF2}"/>
          </ac:spMkLst>
        </pc:spChg>
        <pc:spChg chg="mod ord topLvl">
          <ac:chgData name="Darius Kuddo" userId="da7555aa-d650-4d73-b00b-d01e713f1329" providerId="ADAL" clId="{9A4B509C-EEE7-485A-994E-5919214B754D}" dt="2025-02-20T01:25:52.184" v="1654" actId="165"/>
          <ac:spMkLst>
            <pc:docMk/>
            <pc:sldMk cId="925559711" sldId="1726"/>
            <ac:spMk id="44" creationId="{AA9B7AFE-7EA9-C30E-3891-9CDFB7C05749}"/>
          </ac:spMkLst>
        </pc:spChg>
        <pc:spChg chg="mod topLvl">
          <ac:chgData name="Darius Kuddo" userId="da7555aa-d650-4d73-b00b-d01e713f1329" providerId="ADAL" clId="{9A4B509C-EEE7-485A-994E-5919214B754D}" dt="2025-02-20T01:25:52.184" v="1654" actId="165"/>
          <ac:spMkLst>
            <pc:docMk/>
            <pc:sldMk cId="925559711" sldId="1726"/>
            <ac:spMk id="45" creationId="{E792C2D3-6FD7-3581-96EB-40DAB5481D3B}"/>
          </ac:spMkLst>
        </pc:spChg>
        <pc:spChg chg="mod ord topLvl">
          <ac:chgData name="Darius Kuddo" userId="da7555aa-d650-4d73-b00b-d01e713f1329" providerId="ADAL" clId="{9A4B509C-EEE7-485A-994E-5919214B754D}" dt="2025-02-20T01:25:52.184" v="1654" actId="165"/>
          <ac:spMkLst>
            <pc:docMk/>
            <pc:sldMk cId="925559711" sldId="1726"/>
            <ac:spMk id="46" creationId="{B0E248FC-1CF8-BEFD-93DD-A5214804B28B}"/>
          </ac:spMkLst>
        </pc:spChg>
        <pc:spChg chg="mod topLvl">
          <ac:chgData name="Darius Kuddo" userId="da7555aa-d650-4d73-b00b-d01e713f1329" providerId="ADAL" clId="{9A4B509C-EEE7-485A-994E-5919214B754D}" dt="2025-02-20T01:25:52.184" v="1654" actId="165"/>
          <ac:spMkLst>
            <pc:docMk/>
            <pc:sldMk cId="925559711" sldId="1726"/>
            <ac:spMk id="47" creationId="{31BDB8EE-F3EA-92F6-04EA-18E28F39997C}"/>
          </ac:spMkLst>
        </pc:spChg>
        <pc:spChg chg="mod ord topLvl">
          <ac:chgData name="Darius Kuddo" userId="da7555aa-d650-4d73-b00b-d01e713f1329" providerId="ADAL" clId="{9A4B509C-EEE7-485A-994E-5919214B754D}" dt="2025-02-20T01:25:52.184" v="1654" actId="165"/>
          <ac:spMkLst>
            <pc:docMk/>
            <pc:sldMk cId="925559711" sldId="1726"/>
            <ac:spMk id="48" creationId="{00B7FAD0-486F-FB84-180B-FA2496631AE2}"/>
          </ac:spMkLst>
        </pc:spChg>
        <pc:spChg chg="mod topLvl">
          <ac:chgData name="Darius Kuddo" userId="da7555aa-d650-4d73-b00b-d01e713f1329" providerId="ADAL" clId="{9A4B509C-EEE7-485A-994E-5919214B754D}" dt="2025-02-20T01:25:52.184" v="1654" actId="165"/>
          <ac:spMkLst>
            <pc:docMk/>
            <pc:sldMk cId="925559711" sldId="1726"/>
            <ac:spMk id="49" creationId="{E3717C21-62E6-4066-3E9A-6A673EEE431B}"/>
          </ac:spMkLst>
        </pc:spChg>
        <pc:spChg chg="mod ord topLvl">
          <ac:chgData name="Darius Kuddo" userId="da7555aa-d650-4d73-b00b-d01e713f1329" providerId="ADAL" clId="{9A4B509C-EEE7-485A-994E-5919214B754D}" dt="2025-02-20T01:25:52.184" v="1654" actId="165"/>
          <ac:spMkLst>
            <pc:docMk/>
            <pc:sldMk cId="925559711" sldId="1726"/>
            <ac:spMk id="50" creationId="{C252F4E4-8569-C21E-2A89-78C82110336F}"/>
          </ac:spMkLst>
        </pc:spChg>
        <pc:spChg chg="mod topLvl">
          <ac:chgData name="Darius Kuddo" userId="da7555aa-d650-4d73-b00b-d01e713f1329" providerId="ADAL" clId="{9A4B509C-EEE7-485A-994E-5919214B754D}" dt="2025-02-20T01:25:52.184" v="1654" actId="165"/>
          <ac:spMkLst>
            <pc:docMk/>
            <pc:sldMk cId="925559711" sldId="1726"/>
            <ac:spMk id="51" creationId="{6570F963-1072-FBEE-0D16-6E968C92C0D3}"/>
          </ac:spMkLst>
        </pc:spChg>
        <pc:spChg chg="mod ord topLvl">
          <ac:chgData name="Darius Kuddo" userId="da7555aa-d650-4d73-b00b-d01e713f1329" providerId="ADAL" clId="{9A4B509C-EEE7-485A-994E-5919214B754D}" dt="2025-02-20T01:25:52.184" v="1654" actId="165"/>
          <ac:spMkLst>
            <pc:docMk/>
            <pc:sldMk cId="925559711" sldId="1726"/>
            <ac:spMk id="52" creationId="{E622283A-0D4D-EE07-FC5C-5E1F172D60CC}"/>
          </ac:spMkLst>
        </pc:spChg>
        <pc:spChg chg="mod topLvl">
          <ac:chgData name="Darius Kuddo" userId="da7555aa-d650-4d73-b00b-d01e713f1329" providerId="ADAL" clId="{9A4B509C-EEE7-485A-994E-5919214B754D}" dt="2025-02-20T01:25:52.184" v="1654" actId="165"/>
          <ac:spMkLst>
            <pc:docMk/>
            <pc:sldMk cId="925559711" sldId="1726"/>
            <ac:spMk id="53" creationId="{44F9CE2A-39B7-1100-CD8D-6FB87CDA4EF1}"/>
          </ac:spMkLst>
        </pc:spChg>
        <pc:spChg chg="del mod">
          <ac:chgData name="Darius Kuddo" userId="da7555aa-d650-4d73-b00b-d01e713f1329" providerId="ADAL" clId="{9A4B509C-EEE7-485A-994E-5919214B754D}" dt="2025-02-20T01:25:01.398" v="1616" actId="478"/>
          <ac:spMkLst>
            <pc:docMk/>
            <pc:sldMk cId="925559711" sldId="1726"/>
            <ac:spMk id="62" creationId="{6604A4B0-69A0-E4DE-BDEE-32CEEA685F71}"/>
          </ac:spMkLst>
        </pc:spChg>
        <pc:spChg chg="del mod">
          <ac:chgData name="Darius Kuddo" userId="da7555aa-d650-4d73-b00b-d01e713f1329" providerId="ADAL" clId="{9A4B509C-EEE7-485A-994E-5919214B754D}" dt="2025-02-20T01:25:01.398" v="1616" actId="478"/>
          <ac:spMkLst>
            <pc:docMk/>
            <pc:sldMk cId="925559711" sldId="1726"/>
            <ac:spMk id="63" creationId="{CC9E46D8-DDD3-AD96-8E45-4F9DC302F3A0}"/>
          </ac:spMkLst>
        </pc:spChg>
        <pc:spChg chg="mod topLvl">
          <ac:chgData name="Darius Kuddo" userId="da7555aa-d650-4d73-b00b-d01e713f1329" providerId="ADAL" clId="{9A4B509C-EEE7-485A-994E-5919214B754D}" dt="2025-02-20T01:25:52.184" v="1654" actId="165"/>
          <ac:spMkLst>
            <pc:docMk/>
            <pc:sldMk cId="925559711" sldId="1726"/>
            <ac:spMk id="66" creationId="{DE919F20-FBB8-9BF2-DB40-E93896B8E2AC}"/>
          </ac:spMkLst>
        </pc:spChg>
        <pc:spChg chg="mod topLvl">
          <ac:chgData name="Darius Kuddo" userId="da7555aa-d650-4d73-b00b-d01e713f1329" providerId="ADAL" clId="{9A4B509C-EEE7-485A-994E-5919214B754D}" dt="2025-02-20T01:25:52.184" v="1654" actId="165"/>
          <ac:spMkLst>
            <pc:docMk/>
            <pc:sldMk cId="925559711" sldId="1726"/>
            <ac:spMk id="67" creationId="{D803065F-8DC9-C761-4E5A-A2BBC6863874}"/>
          </ac:spMkLst>
        </pc:spChg>
        <pc:grpChg chg="add del mod topLvl">
          <ac:chgData name="Darius Kuddo" userId="da7555aa-d650-4d73-b00b-d01e713f1329" providerId="ADAL" clId="{9A4B509C-EEE7-485A-994E-5919214B754D}" dt="2025-02-20T01:20:59.067" v="1471" actId="165"/>
          <ac:grpSpMkLst>
            <pc:docMk/>
            <pc:sldMk cId="925559711" sldId="1726"/>
            <ac:grpSpMk id="3" creationId="{6F7284EF-297D-3DEE-B020-563D9B51FB1E}"/>
          </ac:grpSpMkLst>
        </pc:grpChg>
        <pc:grpChg chg="add mod">
          <ac:chgData name="Darius Kuddo" userId="da7555aa-d650-4d73-b00b-d01e713f1329" providerId="ADAL" clId="{9A4B509C-EEE7-485A-994E-5919214B754D}" dt="2025-02-20T01:16:31.124" v="1299"/>
          <ac:grpSpMkLst>
            <pc:docMk/>
            <pc:sldMk cId="925559711" sldId="1726"/>
            <ac:grpSpMk id="10" creationId="{7C1020FC-775C-B0BC-174A-998931A58EB0}"/>
          </ac:grpSpMkLst>
        </pc:grpChg>
        <pc:grpChg chg="add del mod">
          <ac:chgData name="Darius Kuddo" userId="da7555aa-d650-4d73-b00b-d01e713f1329" providerId="ADAL" clId="{9A4B509C-EEE7-485A-994E-5919214B754D}" dt="2025-02-20T01:16:44.755" v="1304" actId="165"/>
          <ac:grpSpMkLst>
            <pc:docMk/>
            <pc:sldMk cId="925559711" sldId="1726"/>
            <ac:grpSpMk id="17" creationId="{67A93ABE-70C4-9A59-CE4A-3970B64B05D1}"/>
          </ac:grpSpMkLst>
        </pc:grpChg>
        <pc:grpChg chg="add del mod">
          <ac:chgData name="Darius Kuddo" userId="da7555aa-d650-4d73-b00b-d01e713f1329" providerId="ADAL" clId="{9A4B509C-EEE7-485A-994E-5919214B754D}" dt="2025-02-20T01:16:44.755" v="1304" actId="165"/>
          <ac:grpSpMkLst>
            <pc:docMk/>
            <pc:sldMk cId="925559711" sldId="1726"/>
            <ac:grpSpMk id="18" creationId="{EFE63876-F60E-67E3-29FC-741A3EC527BF}"/>
          </ac:grpSpMkLst>
        </pc:grpChg>
        <pc:grpChg chg="del mod topLvl">
          <ac:chgData name="Darius Kuddo" userId="da7555aa-d650-4d73-b00b-d01e713f1329" providerId="ADAL" clId="{9A4B509C-EEE7-485A-994E-5919214B754D}" dt="2025-02-20T01:16:46.634" v="1305" actId="165"/>
          <ac:grpSpMkLst>
            <pc:docMk/>
            <pc:sldMk cId="925559711" sldId="1726"/>
            <ac:grpSpMk id="25" creationId="{3F26120D-1C17-8D26-8A0B-44F9E3B71A7C}"/>
          </ac:grpSpMkLst>
        </pc:grpChg>
        <pc:grpChg chg="add del mod">
          <ac:chgData name="Darius Kuddo" userId="da7555aa-d650-4d73-b00b-d01e713f1329" providerId="ADAL" clId="{9A4B509C-EEE7-485A-994E-5919214B754D}" dt="2025-02-20T01:25:52.184" v="1654" actId="165"/>
          <ac:grpSpMkLst>
            <pc:docMk/>
            <pc:sldMk cId="925559711" sldId="1726"/>
            <ac:grpSpMk id="77" creationId="{0C778B3A-02A0-5473-3591-544D83E11ABC}"/>
          </ac:grpSpMkLst>
        </pc:grpChg>
        <pc:grpChg chg="add del mod">
          <ac:chgData name="Darius Kuddo" userId="da7555aa-d650-4d73-b00b-d01e713f1329" providerId="ADAL" clId="{9A4B509C-EEE7-485A-994E-5919214B754D}" dt="2025-02-20T01:25:52.184" v="1654" actId="165"/>
          <ac:grpSpMkLst>
            <pc:docMk/>
            <pc:sldMk cId="925559711" sldId="1726"/>
            <ac:grpSpMk id="79" creationId="{3A99D003-4ECE-DABE-0A2E-6CFAAC9EC010}"/>
          </ac:grpSpMkLst>
        </pc:grpChg>
        <pc:grpChg chg="add del mod">
          <ac:chgData name="Darius Kuddo" userId="da7555aa-d650-4d73-b00b-d01e713f1329" providerId="ADAL" clId="{9A4B509C-EEE7-485A-994E-5919214B754D}" dt="2025-02-20T01:25:52.184" v="1654" actId="165"/>
          <ac:grpSpMkLst>
            <pc:docMk/>
            <pc:sldMk cId="925559711" sldId="1726"/>
            <ac:grpSpMk id="82" creationId="{00B6BFA5-C846-B15F-B145-60474DD4E887}"/>
          </ac:grpSpMkLst>
        </pc:grpChg>
        <pc:grpChg chg="add del mod">
          <ac:chgData name="Darius Kuddo" userId="da7555aa-d650-4d73-b00b-d01e713f1329" providerId="ADAL" clId="{9A4B509C-EEE7-485A-994E-5919214B754D}" dt="2025-02-20T01:25:52.184" v="1654" actId="165"/>
          <ac:grpSpMkLst>
            <pc:docMk/>
            <pc:sldMk cId="925559711" sldId="1726"/>
            <ac:grpSpMk id="85" creationId="{163E2640-ED90-D6E8-DCB2-A64421133817}"/>
          </ac:grpSpMkLst>
        </pc:grpChg>
        <pc:graphicFrameChg chg="mod">
          <ac:chgData name="Darius Kuddo" userId="da7555aa-d650-4d73-b00b-d01e713f1329" providerId="ADAL" clId="{9A4B509C-EEE7-485A-994E-5919214B754D}" dt="2025-02-20T02:28:46.718" v="4604"/>
          <ac:graphicFrameMkLst>
            <pc:docMk/>
            <pc:sldMk cId="925559711" sldId="1726"/>
            <ac:graphicFrameMk id="2" creationId="{03963B58-BFC7-05DF-0357-39E3708C28A1}"/>
          </ac:graphicFrameMkLst>
        </pc:graphicFrameChg>
        <pc:picChg chg="add mod">
          <ac:chgData name="Darius Kuddo" userId="da7555aa-d650-4d73-b00b-d01e713f1329" providerId="ADAL" clId="{9A4B509C-EEE7-485A-994E-5919214B754D}" dt="2025-02-20T01:16:31.124" v="1299"/>
          <ac:picMkLst>
            <pc:docMk/>
            <pc:sldMk cId="925559711" sldId="1726"/>
            <ac:picMk id="8" creationId="{450218CD-AFB9-F5C6-4DA7-126DA2BBBDD2}"/>
          </ac:picMkLst>
        </pc:picChg>
        <pc:picChg chg="add mod">
          <ac:chgData name="Darius Kuddo" userId="da7555aa-d650-4d73-b00b-d01e713f1329" providerId="ADAL" clId="{9A4B509C-EEE7-485A-994E-5919214B754D}" dt="2025-02-20T01:16:31.124" v="1299"/>
          <ac:picMkLst>
            <pc:docMk/>
            <pc:sldMk cId="925559711" sldId="1726"/>
            <ac:picMk id="9" creationId="{A06C929D-5DB4-DA63-B4A4-F8EDAE352C76}"/>
          </ac:picMkLst>
        </pc:picChg>
        <pc:picChg chg="mod">
          <ac:chgData name="Darius Kuddo" userId="da7555aa-d650-4d73-b00b-d01e713f1329" providerId="ADAL" clId="{9A4B509C-EEE7-485A-994E-5919214B754D}" dt="2025-02-20T01:16:31.124" v="1299"/>
          <ac:picMkLst>
            <pc:docMk/>
            <pc:sldMk cId="925559711" sldId="1726"/>
            <ac:picMk id="13" creationId="{73055562-3041-625A-B650-C682940E75B1}"/>
          </ac:picMkLst>
        </pc:picChg>
        <pc:picChg chg="mod">
          <ac:chgData name="Darius Kuddo" userId="da7555aa-d650-4d73-b00b-d01e713f1329" providerId="ADAL" clId="{9A4B509C-EEE7-485A-994E-5919214B754D}" dt="2025-02-20T01:16:31.124" v="1299"/>
          <ac:picMkLst>
            <pc:docMk/>
            <pc:sldMk cId="925559711" sldId="1726"/>
            <ac:picMk id="14" creationId="{3E8E78E0-C105-D5FF-2947-30301F2C4F9A}"/>
          </ac:picMkLst>
        </pc:picChg>
        <pc:picChg chg="add mod">
          <ac:chgData name="Darius Kuddo" userId="da7555aa-d650-4d73-b00b-d01e713f1329" providerId="ADAL" clId="{9A4B509C-EEE7-485A-994E-5919214B754D}" dt="2025-02-20T01:16:31.124" v="1299"/>
          <ac:picMkLst>
            <pc:docMk/>
            <pc:sldMk cId="925559711" sldId="1726"/>
            <ac:picMk id="15" creationId="{AE819A05-DDB2-6939-66EF-8C3BBE2D2ECE}"/>
          </ac:picMkLst>
        </pc:picChg>
        <pc:picChg chg="add mod">
          <ac:chgData name="Darius Kuddo" userId="da7555aa-d650-4d73-b00b-d01e713f1329" providerId="ADAL" clId="{9A4B509C-EEE7-485A-994E-5919214B754D}" dt="2025-02-20T01:16:31.124" v="1299"/>
          <ac:picMkLst>
            <pc:docMk/>
            <pc:sldMk cId="925559711" sldId="1726"/>
            <ac:picMk id="16" creationId="{CEE821CA-1520-0333-7AF4-584D21174760}"/>
          </ac:picMkLst>
        </pc:picChg>
        <pc:picChg chg="del mod topLvl">
          <ac:chgData name="Darius Kuddo" userId="da7555aa-d650-4d73-b00b-d01e713f1329" providerId="ADAL" clId="{9A4B509C-EEE7-485A-994E-5919214B754D}" dt="2025-02-20T01:23:12.664" v="1549" actId="478"/>
          <ac:picMkLst>
            <pc:docMk/>
            <pc:sldMk cId="925559711" sldId="1726"/>
            <ac:picMk id="23" creationId="{B2C3F1F9-0EBD-FA5F-C26A-2D9F3432DF95}"/>
          </ac:picMkLst>
        </pc:picChg>
        <pc:picChg chg="del mod topLvl">
          <ac:chgData name="Darius Kuddo" userId="da7555aa-d650-4d73-b00b-d01e713f1329" providerId="ADAL" clId="{9A4B509C-EEE7-485A-994E-5919214B754D}" dt="2025-02-20T01:24:05.260" v="1586" actId="478"/>
          <ac:picMkLst>
            <pc:docMk/>
            <pc:sldMk cId="925559711" sldId="1726"/>
            <ac:picMk id="24" creationId="{F14977BC-31D1-69D1-1C75-5440FD8D65E6}"/>
          </ac:picMkLst>
        </pc:picChg>
        <pc:picChg chg="del mod topLvl">
          <ac:chgData name="Darius Kuddo" userId="da7555aa-d650-4d73-b00b-d01e713f1329" providerId="ADAL" clId="{9A4B509C-EEE7-485A-994E-5919214B754D}" dt="2025-02-20T01:22:54.634" v="1541" actId="478"/>
          <ac:picMkLst>
            <pc:docMk/>
            <pc:sldMk cId="925559711" sldId="1726"/>
            <ac:picMk id="26" creationId="{08630ABB-56C9-2AC3-71FD-5DCE72C200AB}"/>
          </ac:picMkLst>
        </pc:picChg>
        <pc:picChg chg="del mod topLvl">
          <ac:chgData name="Darius Kuddo" userId="da7555aa-d650-4d73-b00b-d01e713f1329" providerId="ADAL" clId="{9A4B509C-EEE7-485A-994E-5919214B754D}" dt="2025-02-20T01:23:43.882" v="1574" actId="478"/>
          <ac:picMkLst>
            <pc:docMk/>
            <pc:sldMk cId="925559711" sldId="1726"/>
            <ac:picMk id="27" creationId="{1711CB40-1BDC-4D9B-E720-3703CB3F49D3}"/>
          </ac:picMkLst>
        </pc:picChg>
        <pc:picChg chg="del mod topLvl">
          <ac:chgData name="Darius Kuddo" userId="da7555aa-d650-4d73-b00b-d01e713f1329" providerId="ADAL" clId="{9A4B509C-EEE7-485A-994E-5919214B754D}" dt="2025-02-20T01:24:56.281" v="1614" actId="478"/>
          <ac:picMkLst>
            <pc:docMk/>
            <pc:sldMk cId="925559711" sldId="1726"/>
            <ac:picMk id="30" creationId="{0185E2C7-D154-64EE-504C-774FA48847BA}"/>
          </ac:picMkLst>
        </pc:picChg>
        <pc:picChg chg="del mod topLvl">
          <ac:chgData name="Darius Kuddo" userId="da7555aa-d650-4d73-b00b-d01e713f1329" providerId="ADAL" clId="{9A4B509C-EEE7-485A-994E-5919214B754D}" dt="2025-02-20T01:24:27.583" v="1596" actId="478"/>
          <ac:picMkLst>
            <pc:docMk/>
            <pc:sldMk cId="925559711" sldId="1726"/>
            <ac:picMk id="32" creationId="{5CE24584-AFB1-FAC9-64B6-FF9B658E4EA4}"/>
          </ac:picMkLst>
        </pc:picChg>
        <pc:picChg chg="add mod ord topLvl">
          <ac:chgData name="Darius Kuddo" userId="da7555aa-d650-4d73-b00b-d01e713f1329" providerId="ADAL" clId="{9A4B509C-EEE7-485A-994E-5919214B754D}" dt="2025-02-20T01:25:52.184" v="1654" actId="165"/>
          <ac:picMkLst>
            <pc:docMk/>
            <pc:sldMk cId="925559711" sldId="1726"/>
            <ac:picMk id="35" creationId="{48ADE746-ACC4-3E0E-C690-30C3F5034DE5}"/>
          </ac:picMkLst>
        </pc:picChg>
        <pc:picChg chg="add del mod">
          <ac:chgData name="Darius Kuddo" userId="da7555aa-d650-4d73-b00b-d01e713f1329" providerId="ADAL" clId="{9A4B509C-EEE7-485A-994E-5919214B754D}" dt="2025-02-20T01:25:01.398" v="1616" actId="478"/>
          <ac:picMkLst>
            <pc:docMk/>
            <pc:sldMk cId="925559711" sldId="1726"/>
            <ac:picMk id="36" creationId="{15409A25-1263-8C32-2C7B-8C9A156C8A5D}"/>
          </ac:picMkLst>
        </pc:picChg>
        <pc:picChg chg="add mod ord topLvl">
          <ac:chgData name="Darius Kuddo" userId="da7555aa-d650-4d73-b00b-d01e713f1329" providerId="ADAL" clId="{9A4B509C-EEE7-485A-994E-5919214B754D}" dt="2025-02-20T01:25:52.184" v="1654" actId="165"/>
          <ac:picMkLst>
            <pc:docMk/>
            <pc:sldMk cId="925559711" sldId="1726"/>
            <ac:picMk id="37" creationId="{26EFE4FE-8CBA-7509-1BD3-8D4057E006C7}"/>
          </ac:picMkLst>
        </pc:picChg>
        <pc:picChg chg="add del mod ord topLvl">
          <ac:chgData name="Darius Kuddo" userId="da7555aa-d650-4d73-b00b-d01e713f1329" providerId="ADAL" clId="{9A4B509C-EEE7-485A-994E-5919214B754D}" dt="2025-02-20T01:25:52.184" v="1654" actId="165"/>
          <ac:picMkLst>
            <pc:docMk/>
            <pc:sldMk cId="925559711" sldId="1726"/>
            <ac:picMk id="54" creationId="{24528232-69AE-43DD-D562-166D5A5DECF8}"/>
          </ac:picMkLst>
        </pc:picChg>
        <pc:picChg chg="add mod ord topLvl">
          <ac:chgData name="Darius Kuddo" userId="da7555aa-d650-4d73-b00b-d01e713f1329" providerId="ADAL" clId="{9A4B509C-EEE7-485A-994E-5919214B754D}" dt="2025-02-20T01:25:52.184" v="1654" actId="165"/>
          <ac:picMkLst>
            <pc:docMk/>
            <pc:sldMk cId="925559711" sldId="1726"/>
            <ac:picMk id="55" creationId="{3392E5B8-A9B4-8149-04C0-53C484FA81FD}"/>
          </ac:picMkLst>
        </pc:picChg>
        <pc:picChg chg="add mod ord topLvl">
          <ac:chgData name="Darius Kuddo" userId="da7555aa-d650-4d73-b00b-d01e713f1329" providerId="ADAL" clId="{9A4B509C-EEE7-485A-994E-5919214B754D}" dt="2025-02-20T01:25:52.184" v="1654" actId="165"/>
          <ac:picMkLst>
            <pc:docMk/>
            <pc:sldMk cId="925559711" sldId="1726"/>
            <ac:picMk id="56" creationId="{9A481D1E-0B52-743C-00AF-D2C19D22CBC3}"/>
          </ac:picMkLst>
        </pc:picChg>
        <pc:picChg chg="add mod ord topLvl">
          <ac:chgData name="Darius Kuddo" userId="da7555aa-d650-4d73-b00b-d01e713f1329" providerId="ADAL" clId="{9A4B509C-EEE7-485A-994E-5919214B754D}" dt="2025-02-20T01:25:52.184" v="1654" actId="165"/>
          <ac:picMkLst>
            <pc:docMk/>
            <pc:sldMk cId="925559711" sldId="1726"/>
            <ac:picMk id="57" creationId="{75E809E8-E664-1028-5092-5EF968551882}"/>
          </ac:picMkLst>
        </pc:picChg>
        <pc:picChg chg="add mod topLvl">
          <ac:chgData name="Darius Kuddo" userId="da7555aa-d650-4d73-b00b-d01e713f1329" providerId="ADAL" clId="{9A4B509C-EEE7-485A-994E-5919214B754D}" dt="2025-02-20T01:25:52.184" v="1654" actId="165"/>
          <ac:picMkLst>
            <pc:docMk/>
            <pc:sldMk cId="925559711" sldId="1726"/>
            <ac:picMk id="58" creationId="{27A0E9A3-FD2F-CA6F-130A-A2F413D9CCD7}"/>
          </ac:picMkLst>
        </pc:picChg>
        <pc:picChg chg="add mod ord topLvl">
          <ac:chgData name="Darius Kuddo" userId="da7555aa-d650-4d73-b00b-d01e713f1329" providerId="ADAL" clId="{9A4B509C-EEE7-485A-994E-5919214B754D}" dt="2025-02-20T01:25:52.184" v="1654" actId="165"/>
          <ac:picMkLst>
            <pc:docMk/>
            <pc:sldMk cId="925559711" sldId="1726"/>
            <ac:picMk id="59" creationId="{59006554-4831-8E81-DDB1-CCA52BD9EE37}"/>
          </ac:picMkLst>
        </pc:picChg>
        <pc:picChg chg="add mod">
          <ac:chgData name="Darius Kuddo" userId="da7555aa-d650-4d73-b00b-d01e713f1329" providerId="ADAL" clId="{9A4B509C-EEE7-485A-994E-5919214B754D}" dt="2025-02-20T01:22:11.301" v="1512"/>
          <ac:picMkLst>
            <pc:docMk/>
            <pc:sldMk cId="925559711" sldId="1726"/>
            <ac:picMk id="60" creationId="{0E1DEC80-C2D8-E992-7772-F0BBDD8D7519}"/>
          </ac:picMkLst>
        </pc:picChg>
        <pc:picChg chg="add mod topLvl">
          <ac:chgData name="Darius Kuddo" userId="da7555aa-d650-4d73-b00b-d01e713f1329" providerId="ADAL" clId="{9A4B509C-EEE7-485A-994E-5919214B754D}" dt="2025-02-20T01:25:52.184" v="1654" actId="165"/>
          <ac:picMkLst>
            <pc:docMk/>
            <pc:sldMk cId="925559711" sldId="1726"/>
            <ac:picMk id="61" creationId="{9438883A-9B0A-FE5B-F07F-5327DFAEDB59}"/>
          </ac:picMkLst>
        </pc:picChg>
        <pc:picChg chg="add mod topLvl">
          <ac:chgData name="Darius Kuddo" userId="da7555aa-d650-4d73-b00b-d01e713f1329" providerId="ADAL" clId="{9A4B509C-EEE7-485A-994E-5919214B754D}" dt="2025-02-20T01:25:52.184" v="1654" actId="165"/>
          <ac:picMkLst>
            <pc:docMk/>
            <pc:sldMk cId="925559711" sldId="1726"/>
            <ac:picMk id="64" creationId="{89D5D9F1-C2D3-2204-C191-743E6CE989E2}"/>
          </ac:picMkLst>
        </pc:picChg>
        <pc:picChg chg="add mod topLvl">
          <ac:chgData name="Darius Kuddo" userId="da7555aa-d650-4d73-b00b-d01e713f1329" providerId="ADAL" clId="{9A4B509C-EEE7-485A-994E-5919214B754D}" dt="2025-02-20T01:25:52.184" v="1654" actId="165"/>
          <ac:picMkLst>
            <pc:docMk/>
            <pc:sldMk cId="925559711" sldId="1726"/>
            <ac:picMk id="65" creationId="{650B7F83-77E9-53FE-F66C-D1254F02C5D1}"/>
          </ac:picMkLst>
        </pc:picChg>
        <pc:picChg chg="mod topLvl">
          <ac:chgData name="Darius Kuddo" userId="da7555aa-d650-4d73-b00b-d01e713f1329" providerId="ADAL" clId="{9A4B509C-EEE7-485A-994E-5919214B754D}" dt="2025-02-20T01:25:52.184" v="1654" actId="165"/>
          <ac:picMkLst>
            <pc:docMk/>
            <pc:sldMk cId="925559711" sldId="1726"/>
            <ac:picMk id="68" creationId="{08D6CB56-0719-3EDA-A7D1-49932CCFB179}"/>
          </ac:picMkLst>
        </pc:picChg>
        <pc:picChg chg="mod ord topLvl">
          <ac:chgData name="Darius Kuddo" userId="da7555aa-d650-4d73-b00b-d01e713f1329" providerId="ADAL" clId="{9A4B509C-EEE7-485A-994E-5919214B754D}" dt="2025-02-20T01:25:52.184" v="1654" actId="165"/>
          <ac:picMkLst>
            <pc:docMk/>
            <pc:sldMk cId="925559711" sldId="1726"/>
            <ac:picMk id="69" creationId="{ED0D34C3-A58C-4213-B958-5B61AB1B8AA8}"/>
          </ac:picMkLst>
        </pc:picChg>
        <pc:picChg chg="add mod ord topLvl">
          <ac:chgData name="Darius Kuddo" userId="da7555aa-d650-4d73-b00b-d01e713f1329" providerId="ADAL" clId="{9A4B509C-EEE7-485A-994E-5919214B754D}" dt="2025-02-20T01:25:52.184" v="1654" actId="165"/>
          <ac:picMkLst>
            <pc:docMk/>
            <pc:sldMk cId="925559711" sldId="1726"/>
            <ac:picMk id="70" creationId="{C46BF482-F18A-13EE-221C-8E980BC3308E}"/>
          </ac:picMkLst>
        </pc:picChg>
        <pc:picChg chg="del mod">
          <ac:chgData name="Darius Kuddo" userId="da7555aa-d650-4d73-b00b-d01e713f1329" providerId="ADAL" clId="{9A4B509C-EEE7-485A-994E-5919214B754D}" dt="2025-02-20T01:18:50.002" v="1363" actId="478"/>
          <ac:picMkLst>
            <pc:docMk/>
            <pc:sldMk cId="925559711" sldId="1726"/>
            <ac:picMk id="71" creationId="{4434807A-E4DA-D11C-7644-29E96D33C6FC}"/>
          </ac:picMkLst>
        </pc:picChg>
        <pc:picChg chg="mod topLvl">
          <ac:chgData name="Darius Kuddo" userId="da7555aa-d650-4d73-b00b-d01e713f1329" providerId="ADAL" clId="{9A4B509C-EEE7-485A-994E-5919214B754D}" dt="2025-02-20T01:25:52.184" v="1654" actId="165"/>
          <ac:picMkLst>
            <pc:docMk/>
            <pc:sldMk cId="925559711" sldId="1726"/>
            <ac:picMk id="72" creationId="{5668285E-D9AE-924A-A094-A860CE138DA2}"/>
          </ac:picMkLst>
        </pc:picChg>
        <pc:picChg chg="del mod">
          <ac:chgData name="Darius Kuddo" userId="da7555aa-d650-4d73-b00b-d01e713f1329" providerId="ADAL" clId="{9A4B509C-EEE7-485A-994E-5919214B754D}" dt="2025-02-20T01:17:36.492" v="1321" actId="478"/>
          <ac:picMkLst>
            <pc:docMk/>
            <pc:sldMk cId="925559711" sldId="1726"/>
            <ac:picMk id="73" creationId="{A0A22B1C-B3BE-B928-723B-538645889D26}"/>
          </ac:picMkLst>
        </pc:picChg>
        <pc:picChg chg="mod ord topLvl">
          <ac:chgData name="Darius Kuddo" userId="da7555aa-d650-4d73-b00b-d01e713f1329" providerId="ADAL" clId="{9A4B509C-EEE7-485A-994E-5919214B754D}" dt="2025-02-20T01:25:52.184" v="1654" actId="165"/>
          <ac:picMkLst>
            <pc:docMk/>
            <pc:sldMk cId="925559711" sldId="1726"/>
            <ac:picMk id="74" creationId="{CD0BC48F-A95D-A8C0-9C1F-49A15FC9506C}"/>
          </ac:picMkLst>
        </pc:picChg>
        <pc:picChg chg="del mod">
          <ac:chgData name="Darius Kuddo" userId="da7555aa-d650-4d73-b00b-d01e713f1329" providerId="ADAL" clId="{9A4B509C-EEE7-485A-994E-5919214B754D}" dt="2025-02-20T01:19:34.166" v="1399" actId="478"/>
          <ac:picMkLst>
            <pc:docMk/>
            <pc:sldMk cId="925559711" sldId="1726"/>
            <ac:picMk id="75" creationId="{551FE13D-63AE-726D-64B2-67F59A68ED43}"/>
          </ac:picMkLst>
        </pc:picChg>
        <pc:picChg chg="add mod topLvl">
          <ac:chgData name="Darius Kuddo" userId="da7555aa-d650-4d73-b00b-d01e713f1329" providerId="ADAL" clId="{9A4B509C-EEE7-485A-994E-5919214B754D}" dt="2025-02-20T01:25:52.184" v="1654" actId="165"/>
          <ac:picMkLst>
            <pc:docMk/>
            <pc:sldMk cId="925559711" sldId="1726"/>
            <ac:picMk id="76" creationId="{AA029223-DC22-BF17-1D74-756139E65B13}"/>
          </ac:picMkLst>
        </pc:picChg>
        <pc:picChg chg="del mod">
          <ac:chgData name="Darius Kuddo" userId="da7555aa-d650-4d73-b00b-d01e713f1329" providerId="ADAL" clId="{9A4B509C-EEE7-485A-994E-5919214B754D}" dt="2025-02-20T01:20:19.167" v="1442" actId="478"/>
          <ac:picMkLst>
            <pc:docMk/>
            <pc:sldMk cId="925559711" sldId="1726"/>
            <ac:picMk id="78" creationId="{4285B263-4D33-12DF-AF67-02483307C7B6}"/>
          </ac:picMkLst>
        </pc:picChg>
        <pc:picChg chg="mod topLvl">
          <ac:chgData name="Darius Kuddo" userId="da7555aa-d650-4d73-b00b-d01e713f1329" providerId="ADAL" clId="{9A4B509C-EEE7-485A-994E-5919214B754D}" dt="2025-02-20T01:25:52.184" v="1654" actId="165"/>
          <ac:picMkLst>
            <pc:docMk/>
            <pc:sldMk cId="925559711" sldId="1726"/>
            <ac:picMk id="80" creationId="{3F804352-3FDD-3B68-EF84-CBC2556DDE4C}"/>
          </ac:picMkLst>
        </pc:picChg>
        <pc:picChg chg="del mod">
          <ac:chgData name="Darius Kuddo" userId="da7555aa-d650-4d73-b00b-d01e713f1329" providerId="ADAL" clId="{9A4B509C-EEE7-485A-994E-5919214B754D}" dt="2025-02-20T01:18:57.116" v="1365" actId="478"/>
          <ac:picMkLst>
            <pc:docMk/>
            <pc:sldMk cId="925559711" sldId="1726"/>
            <ac:picMk id="81" creationId="{E4B447B9-713F-D16B-6E36-D97ED7163C6F}"/>
          </ac:picMkLst>
        </pc:picChg>
        <pc:picChg chg="mod ord topLvl">
          <ac:chgData name="Darius Kuddo" userId="da7555aa-d650-4d73-b00b-d01e713f1329" providerId="ADAL" clId="{9A4B509C-EEE7-485A-994E-5919214B754D}" dt="2025-02-20T01:25:52.184" v="1654" actId="165"/>
          <ac:picMkLst>
            <pc:docMk/>
            <pc:sldMk cId="925559711" sldId="1726"/>
            <ac:picMk id="83" creationId="{FD20AF1E-F403-67F2-E5DA-7A1425C1E71B}"/>
          </ac:picMkLst>
        </pc:picChg>
        <pc:picChg chg="del mod">
          <ac:chgData name="Darius Kuddo" userId="da7555aa-d650-4d73-b00b-d01e713f1329" providerId="ADAL" clId="{9A4B509C-EEE7-485A-994E-5919214B754D}" dt="2025-02-20T01:25:02.407" v="1617" actId="478"/>
          <ac:picMkLst>
            <pc:docMk/>
            <pc:sldMk cId="925559711" sldId="1726"/>
            <ac:picMk id="84" creationId="{1B4E85DC-5F7A-C815-75A2-A266B3C56F5C}"/>
          </ac:picMkLst>
        </pc:picChg>
        <pc:picChg chg="mod topLvl">
          <ac:chgData name="Darius Kuddo" userId="da7555aa-d650-4d73-b00b-d01e713f1329" providerId="ADAL" clId="{9A4B509C-EEE7-485A-994E-5919214B754D}" dt="2025-02-20T01:25:52.184" v="1654" actId="165"/>
          <ac:picMkLst>
            <pc:docMk/>
            <pc:sldMk cId="925559711" sldId="1726"/>
            <ac:picMk id="86" creationId="{0565EFCD-4DC0-1D19-FFC7-9021CA1CAB37}"/>
          </ac:picMkLst>
        </pc:picChg>
        <pc:picChg chg="del mod topLvl">
          <ac:chgData name="Darius Kuddo" userId="da7555aa-d650-4d73-b00b-d01e713f1329" providerId="ADAL" clId="{9A4B509C-EEE7-485A-994E-5919214B754D}" dt="2025-02-20T01:21:22.936" v="1479" actId="478"/>
          <ac:picMkLst>
            <pc:docMk/>
            <pc:sldMk cId="925559711" sldId="1726"/>
            <ac:picMk id="87" creationId="{88BA5EB9-FAAA-4DA4-6D10-CCECF93D35DB}"/>
          </ac:picMkLst>
        </pc:picChg>
        <pc:picChg chg="mod topLvl">
          <ac:chgData name="Darius Kuddo" userId="da7555aa-d650-4d73-b00b-d01e713f1329" providerId="ADAL" clId="{9A4B509C-EEE7-485A-994E-5919214B754D}" dt="2025-02-20T01:25:52.184" v="1654" actId="165"/>
          <ac:picMkLst>
            <pc:docMk/>
            <pc:sldMk cId="925559711" sldId="1726"/>
            <ac:picMk id="89" creationId="{FDAD6B02-C5B3-1EBF-32CA-508D9D8C358E}"/>
          </ac:picMkLst>
        </pc:picChg>
        <pc:picChg chg="mod ord topLvl">
          <ac:chgData name="Darius Kuddo" userId="da7555aa-d650-4d73-b00b-d01e713f1329" providerId="ADAL" clId="{9A4B509C-EEE7-485A-994E-5919214B754D}" dt="2025-02-20T01:25:52.184" v="1654" actId="165"/>
          <ac:picMkLst>
            <pc:docMk/>
            <pc:sldMk cId="925559711" sldId="1726"/>
            <ac:picMk id="90" creationId="{88B4A894-2ED4-60DC-BCB7-6C5527841574}"/>
          </ac:picMkLst>
        </pc:picChg>
        <pc:picChg chg="del mod topLvl">
          <ac:chgData name="Darius Kuddo" userId="da7555aa-d650-4d73-b00b-d01e713f1329" providerId="ADAL" clId="{9A4B509C-EEE7-485A-994E-5919214B754D}" dt="2025-02-20T01:22:05.578" v="1509" actId="478"/>
          <ac:picMkLst>
            <pc:docMk/>
            <pc:sldMk cId="925559711" sldId="1726"/>
            <ac:picMk id="91" creationId="{77128245-A3FF-EBAC-57C4-B5CD259DD485}"/>
          </ac:picMkLst>
        </pc:picChg>
        <pc:picChg chg="mod ord topLvl">
          <ac:chgData name="Darius Kuddo" userId="da7555aa-d650-4d73-b00b-d01e713f1329" providerId="ADAL" clId="{9A4B509C-EEE7-485A-994E-5919214B754D}" dt="2025-02-20T01:25:52.184" v="1654" actId="165"/>
          <ac:picMkLst>
            <pc:docMk/>
            <pc:sldMk cId="925559711" sldId="1726"/>
            <ac:picMk id="92" creationId="{23E27A7A-8708-BE42-8D8A-37128ABB500B}"/>
          </ac:picMkLst>
        </pc:picChg>
        <pc:picChg chg="del mod">
          <ac:chgData name="Darius Kuddo" userId="da7555aa-d650-4d73-b00b-d01e713f1329" providerId="ADAL" clId="{9A4B509C-EEE7-485A-994E-5919214B754D}" dt="2025-02-20T01:18:38.021" v="1357" actId="478"/>
          <ac:picMkLst>
            <pc:docMk/>
            <pc:sldMk cId="925559711" sldId="1726"/>
            <ac:picMk id="96" creationId="{E0573FAB-F717-74B1-B645-A4258AFD0D17}"/>
          </ac:picMkLst>
        </pc:picChg>
        <pc:picChg chg="mod topLvl">
          <ac:chgData name="Darius Kuddo" userId="da7555aa-d650-4d73-b00b-d01e713f1329" providerId="ADAL" clId="{9A4B509C-EEE7-485A-994E-5919214B754D}" dt="2025-02-20T01:25:52.184" v="1654" actId="165"/>
          <ac:picMkLst>
            <pc:docMk/>
            <pc:sldMk cId="925559711" sldId="1726"/>
            <ac:picMk id="97" creationId="{E3DDE01B-1C34-944A-8A4A-6C91D7B58701}"/>
          </ac:picMkLst>
        </pc:picChg>
      </pc:sldChg>
      <pc:sldChg chg="addSp delSp modSp add mod">
        <pc:chgData name="Darius Kuddo" userId="da7555aa-d650-4d73-b00b-d01e713f1329" providerId="ADAL" clId="{9A4B509C-EEE7-485A-994E-5919214B754D}" dt="2025-02-20T02:28:46.718" v="4604"/>
        <pc:sldMkLst>
          <pc:docMk/>
          <pc:sldMk cId="182184594" sldId="1727"/>
        </pc:sldMkLst>
        <pc:spChg chg="add mod">
          <ac:chgData name="Darius Kuddo" userId="da7555aa-d650-4d73-b00b-d01e713f1329" providerId="ADAL" clId="{9A4B509C-EEE7-485A-994E-5919214B754D}" dt="2025-02-20T01:26:33.556" v="1686"/>
          <ac:spMkLst>
            <pc:docMk/>
            <pc:sldMk cId="182184594" sldId="1727"/>
            <ac:spMk id="3" creationId="{34903F27-F1D3-D728-94AB-1D5C111FC1E5}"/>
          </ac:spMkLst>
        </pc:spChg>
        <pc:spChg chg="add mod">
          <ac:chgData name="Darius Kuddo" userId="da7555aa-d650-4d73-b00b-d01e713f1329" providerId="ADAL" clId="{9A4B509C-EEE7-485A-994E-5919214B754D}" dt="2025-02-20T01:26:33.556" v="1686"/>
          <ac:spMkLst>
            <pc:docMk/>
            <pc:sldMk cId="182184594" sldId="1727"/>
            <ac:spMk id="4" creationId="{4916CDE7-51FC-1AAD-A893-38E8582FDF90}"/>
          </ac:spMkLst>
        </pc:spChg>
        <pc:spChg chg="add mod">
          <ac:chgData name="Darius Kuddo" userId="da7555aa-d650-4d73-b00b-d01e713f1329" providerId="ADAL" clId="{9A4B509C-EEE7-485A-994E-5919214B754D}" dt="2025-02-20T01:26:33.556" v="1686"/>
          <ac:spMkLst>
            <pc:docMk/>
            <pc:sldMk cId="182184594" sldId="1727"/>
            <ac:spMk id="5" creationId="{8EDDFCFB-5929-9C83-CEDF-450CC54F088B}"/>
          </ac:spMkLst>
        </pc:spChg>
        <pc:spChg chg="add mod">
          <ac:chgData name="Darius Kuddo" userId="da7555aa-d650-4d73-b00b-d01e713f1329" providerId="ADAL" clId="{9A4B509C-EEE7-485A-994E-5919214B754D}" dt="2025-02-20T01:26:33.556" v="1686"/>
          <ac:spMkLst>
            <pc:docMk/>
            <pc:sldMk cId="182184594" sldId="1727"/>
            <ac:spMk id="6" creationId="{04C8AB94-0E84-7642-6E3F-24C84AB31FE2}"/>
          </ac:spMkLst>
        </pc:spChg>
        <pc:spChg chg="add del mod">
          <ac:chgData name="Darius Kuddo" userId="da7555aa-d650-4d73-b00b-d01e713f1329" providerId="ADAL" clId="{9A4B509C-EEE7-485A-994E-5919214B754D}" dt="2025-02-20T01:29:24.921" v="1734" actId="478"/>
          <ac:spMkLst>
            <pc:docMk/>
            <pc:sldMk cId="182184594" sldId="1727"/>
            <ac:spMk id="11" creationId="{7163D16F-F552-F2BD-EA45-9FE58588F452}"/>
          </ac:spMkLst>
        </pc:spChg>
        <pc:spChg chg="add del mod">
          <ac:chgData name="Darius Kuddo" userId="da7555aa-d650-4d73-b00b-d01e713f1329" providerId="ADAL" clId="{9A4B509C-EEE7-485A-994E-5919214B754D}" dt="2025-02-20T01:29:24.921" v="1734" actId="478"/>
          <ac:spMkLst>
            <pc:docMk/>
            <pc:sldMk cId="182184594" sldId="1727"/>
            <ac:spMk id="12" creationId="{D4CAF6E3-0A9D-A912-14E1-6AEE08FF69A5}"/>
          </ac:spMkLst>
        </pc:spChg>
        <pc:spChg chg="add del mod">
          <ac:chgData name="Darius Kuddo" userId="da7555aa-d650-4d73-b00b-d01e713f1329" providerId="ADAL" clId="{9A4B509C-EEE7-485A-994E-5919214B754D}" dt="2025-02-20T01:29:24.921" v="1734" actId="478"/>
          <ac:spMkLst>
            <pc:docMk/>
            <pc:sldMk cId="182184594" sldId="1727"/>
            <ac:spMk id="13" creationId="{3C1EFDB3-9052-8261-6AFD-3AC9D2642EFA}"/>
          </ac:spMkLst>
        </pc:spChg>
        <pc:spChg chg="add del mod">
          <ac:chgData name="Darius Kuddo" userId="da7555aa-d650-4d73-b00b-d01e713f1329" providerId="ADAL" clId="{9A4B509C-EEE7-485A-994E-5919214B754D}" dt="2025-02-20T01:29:24.921" v="1734" actId="478"/>
          <ac:spMkLst>
            <pc:docMk/>
            <pc:sldMk cId="182184594" sldId="1727"/>
            <ac:spMk id="14" creationId="{3B7ABC6B-359B-3395-7C26-C49FB64E8F39}"/>
          </ac:spMkLst>
        </pc:spChg>
        <pc:spChg chg="ord">
          <ac:chgData name="Darius Kuddo" userId="da7555aa-d650-4d73-b00b-d01e713f1329" providerId="ADAL" clId="{9A4B509C-EEE7-485A-994E-5919214B754D}" dt="2025-02-20T01:34:59.380" v="1895" actId="167"/>
          <ac:spMkLst>
            <pc:docMk/>
            <pc:sldMk cId="182184594" sldId="1727"/>
            <ac:spMk id="19" creationId="{CB582E56-1B0D-1A1D-838F-1F3E4E52FED0}"/>
          </ac:spMkLst>
        </pc:spChg>
        <pc:spChg chg="mod ord">
          <ac:chgData name="Darius Kuddo" userId="da7555aa-d650-4d73-b00b-d01e713f1329" providerId="ADAL" clId="{9A4B509C-EEE7-485A-994E-5919214B754D}" dt="2025-02-20T01:34:56.451" v="1894" actId="167"/>
          <ac:spMkLst>
            <pc:docMk/>
            <pc:sldMk cId="182184594" sldId="1727"/>
            <ac:spMk id="20" creationId="{7F66C8DF-B533-63FF-79D8-867683BB91D7}"/>
          </ac:spMkLst>
        </pc:spChg>
        <pc:spChg chg="ord">
          <ac:chgData name="Darius Kuddo" userId="da7555aa-d650-4d73-b00b-d01e713f1329" providerId="ADAL" clId="{9A4B509C-EEE7-485A-994E-5919214B754D}" dt="2025-02-20T01:35:44.153" v="1928" actId="167"/>
          <ac:spMkLst>
            <pc:docMk/>
            <pc:sldMk cId="182184594" sldId="1727"/>
            <ac:spMk id="21" creationId="{05F5B5B6-D274-8A09-8270-79F3314397EB}"/>
          </ac:spMkLst>
        </pc:spChg>
        <pc:spChg chg="mod">
          <ac:chgData name="Darius Kuddo" userId="da7555aa-d650-4d73-b00b-d01e713f1329" providerId="ADAL" clId="{9A4B509C-EEE7-485A-994E-5919214B754D}" dt="2025-02-20T01:35:29.256" v="1920"/>
          <ac:spMkLst>
            <pc:docMk/>
            <pc:sldMk cId="182184594" sldId="1727"/>
            <ac:spMk id="22" creationId="{2BA73D62-DCD4-33B0-BB9F-5708F3824ED2}"/>
          </ac:spMkLst>
        </pc:spChg>
        <pc:spChg chg="add del mod">
          <ac:chgData name="Darius Kuddo" userId="da7555aa-d650-4d73-b00b-d01e713f1329" providerId="ADAL" clId="{9A4B509C-EEE7-485A-994E-5919214B754D}" dt="2025-02-20T01:30:47.459" v="1781" actId="478"/>
          <ac:spMkLst>
            <pc:docMk/>
            <pc:sldMk cId="182184594" sldId="1727"/>
            <ac:spMk id="23" creationId="{A1CEE0F2-8770-4F2C-ABA2-C432243766EE}"/>
          </ac:spMkLst>
        </pc:spChg>
        <pc:spChg chg="add del mod">
          <ac:chgData name="Darius Kuddo" userId="da7555aa-d650-4d73-b00b-d01e713f1329" providerId="ADAL" clId="{9A4B509C-EEE7-485A-994E-5919214B754D}" dt="2025-02-20T01:30:47.459" v="1781" actId="478"/>
          <ac:spMkLst>
            <pc:docMk/>
            <pc:sldMk cId="182184594" sldId="1727"/>
            <ac:spMk id="24" creationId="{9FA2FC87-CE93-4FAF-3C58-1F7F56580A40}"/>
          </ac:spMkLst>
        </pc:spChg>
        <pc:spChg chg="add del mod">
          <ac:chgData name="Darius Kuddo" userId="da7555aa-d650-4d73-b00b-d01e713f1329" providerId="ADAL" clId="{9A4B509C-EEE7-485A-994E-5919214B754D}" dt="2025-02-20T01:31:34.205" v="1806" actId="478"/>
          <ac:spMkLst>
            <pc:docMk/>
            <pc:sldMk cId="182184594" sldId="1727"/>
            <ac:spMk id="27" creationId="{52072611-D0E7-F925-2923-7567F0D5F93F}"/>
          </ac:spMkLst>
        </pc:spChg>
        <pc:spChg chg="ord">
          <ac:chgData name="Darius Kuddo" userId="da7555aa-d650-4d73-b00b-d01e713f1329" providerId="ADAL" clId="{9A4B509C-EEE7-485A-994E-5919214B754D}" dt="2025-02-20T01:36:21.247" v="1953" actId="167"/>
          <ac:spMkLst>
            <pc:docMk/>
            <pc:sldMk cId="182184594" sldId="1727"/>
            <ac:spMk id="28" creationId="{F1358233-1EDF-4796-CE70-6BAAAD647D5C}"/>
          </ac:spMkLst>
        </pc:spChg>
        <pc:spChg chg="mod">
          <ac:chgData name="Darius Kuddo" userId="da7555aa-d650-4d73-b00b-d01e713f1329" providerId="ADAL" clId="{9A4B509C-EEE7-485A-994E-5919214B754D}" dt="2025-02-20T01:36:10.998" v="1947" actId="20577"/>
          <ac:spMkLst>
            <pc:docMk/>
            <pc:sldMk cId="182184594" sldId="1727"/>
            <ac:spMk id="29" creationId="{CCB2904D-266A-D544-65B7-3B55E48DD0AC}"/>
          </ac:spMkLst>
        </pc:spChg>
        <pc:spChg chg="add del mod">
          <ac:chgData name="Darius Kuddo" userId="da7555aa-d650-4d73-b00b-d01e713f1329" providerId="ADAL" clId="{9A4B509C-EEE7-485A-994E-5919214B754D}" dt="2025-02-20T01:31:34.205" v="1806" actId="478"/>
          <ac:spMkLst>
            <pc:docMk/>
            <pc:sldMk cId="182184594" sldId="1727"/>
            <ac:spMk id="30" creationId="{A52C0947-4C20-22AA-2E31-860837054BA6}"/>
          </ac:spMkLst>
        </pc:spChg>
        <pc:spChg chg="mod">
          <ac:chgData name="Darius Kuddo" userId="da7555aa-d650-4d73-b00b-d01e713f1329" providerId="ADAL" clId="{9A4B509C-EEE7-485A-994E-5919214B754D}" dt="2025-02-20T01:26:06.414" v="1673" actId="20577"/>
          <ac:spMkLst>
            <pc:docMk/>
            <pc:sldMk cId="182184594" sldId="1727"/>
            <ac:spMk id="31" creationId="{DAC04F55-EF15-B070-D9EF-3A3D16BC040B}"/>
          </ac:spMkLst>
        </pc:spChg>
        <pc:spChg chg="add del mod">
          <ac:chgData name="Darius Kuddo" userId="da7555aa-d650-4d73-b00b-d01e713f1329" providerId="ADAL" clId="{9A4B509C-EEE7-485A-994E-5919214B754D}" dt="2025-02-20T01:31:34.205" v="1806" actId="478"/>
          <ac:spMkLst>
            <pc:docMk/>
            <pc:sldMk cId="182184594" sldId="1727"/>
            <ac:spMk id="34" creationId="{1636B936-DEED-C4DA-2EDC-519DF0542592}"/>
          </ac:spMkLst>
        </pc:spChg>
        <pc:spChg chg="add del mod">
          <ac:chgData name="Darius Kuddo" userId="da7555aa-d650-4d73-b00b-d01e713f1329" providerId="ADAL" clId="{9A4B509C-EEE7-485A-994E-5919214B754D}" dt="2025-02-20T01:31:34.205" v="1806" actId="478"/>
          <ac:spMkLst>
            <pc:docMk/>
            <pc:sldMk cId="182184594" sldId="1727"/>
            <ac:spMk id="36" creationId="{371D1920-29DD-E36C-00BD-65C04C2A340B}"/>
          </ac:spMkLst>
        </pc:spChg>
        <pc:spChg chg="ord">
          <ac:chgData name="Darius Kuddo" userId="da7555aa-d650-4d73-b00b-d01e713f1329" providerId="ADAL" clId="{9A4B509C-EEE7-485A-994E-5919214B754D}" dt="2025-02-20T01:29:22.295" v="1733" actId="167"/>
          <ac:spMkLst>
            <pc:docMk/>
            <pc:sldMk cId="182184594" sldId="1727"/>
            <ac:spMk id="38" creationId="{4D31C7AC-D9CD-014E-4A08-88638C45FA82}"/>
          </ac:spMkLst>
        </pc:spChg>
        <pc:spChg chg="mod">
          <ac:chgData name="Darius Kuddo" userId="da7555aa-d650-4d73-b00b-d01e713f1329" providerId="ADAL" clId="{9A4B509C-EEE7-485A-994E-5919214B754D}" dt="2025-02-20T01:29:17.697" v="1731"/>
          <ac:spMkLst>
            <pc:docMk/>
            <pc:sldMk cId="182184594" sldId="1727"/>
            <ac:spMk id="39" creationId="{690682E8-572D-D4EB-917C-6F582340E180}"/>
          </ac:spMkLst>
        </pc:spChg>
        <pc:spChg chg="ord">
          <ac:chgData name="Darius Kuddo" userId="da7555aa-d650-4d73-b00b-d01e713f1329" providerId="ADAL" clId="{9A4B509C-EEE7-485A-994E-5919214B754D}" dt="2025-02-20T01:29:22.295" v="1733" actId="167"/>
          <ac:spMkLst>
            <pc:docMk/>
            <pc:sldMk cId="182184594" sldId="1727"/>
            <ac:spMk id="40" creationId="{36148719-5A5C-3A58-F760-54232C34ADA4}"/>
          </ac:spMkLst>
        </pc:spChg>
        <pc:spChg chg="mod">
          <ac:chgData name="Darius Kuddo" userId="da7555aa-d650-4d73-b00b-d01e713f1329" providerId="ADAL" clId="{9A4B509C-EEE7-485A-994E-5919214B754D}" dt="2025-02-20T01:29:20.014" v="1732"/>
          <ac:spMkLst>
            <pc:docMk/>
            <pc:sldMk cId="182184594" sldId="1727"/>
            <ac:spMk id="41" creationId="{FFEE6D39-EF30-AECB-BDA6-E5D381DA5110}"/>
          </ac:spMkLst>
        </pc:spChg>
        <pc:spChg chg="ord">
          <ac:chgData name="Darius Kuddo" userId="da7555aa-d650-4d73-b00b-d01e713f1329" providerId="ADAL" clId="{9A4B509C-EEE7-485A-994E-5919214B754D}" dt="2025-02-20T01:30:11.765" v="1768" actId="167"/>
          <ac:spMkLst>
            <pc:docMk/>
            <pc:sldMk cId="182184594" sldId="1727"/>
            <ac:spMk id="42" creationId="{1B100225-0045-B7B8-EDF2-24E94FB0AD98}"/>
          </ac:spMkLst>
        </pc:spChg>
        <pc:spChg chg="mod">
          <ac:chgData name="Darius Kuddo" userId="da7555aa-d650-4d73-b00b-d01e713f1329" providerId="ADAL" clId="{9A4B509C-EEE7-485A-994E-5919214B754D}" dt="2025-02-20T01:30:19.221" v="1769"/>
          <ac:spMkLst>
            <pc:docMk/>
            <pc:sldMk cId="182184594" sldId="1727"/>
            <ac:spMk id="43" creationId="{C6C890B8-1E74-9CC0-3046-FAC3C8BBF38E}"/>
          </ac:spMkLst>
        </pc:spChg>
        <pc:spChg chg="ord">
          <ac:chgData name="Darius Kuddo" userId="da7555aa-d650-4d73-b00b-d01e713f1329" providerId="ADAL" clId="{9A4B509C-EEE7-485A-994E-5919214B754D}" dt="2025-02-20T01:30:42.863" v="1780" actId="167"/>
          <ac:spMkLst>
            <pc:docMk/>
            <pc:sldMk cId="182184594" sldId="1727"/>
            <ac:spMk id="44" creationId="{5880BE36-193C-562A-FFAB-723D2A7BA481}"/>
          </ac:spMkLst>
        </pc:spChg>
        <pc:spChg chg="mod">
          <ac:chgData name="Darius Kuddo" userId="da7555aa-d650-4d73-b00b-d01e713f1329" providerId="ADAL" clId="{9A4B509C-EEE7-485A-994E-5919214B754D}" dt="2025-02-20T01:30:30.254" v="1771"/>
          <ac:spMkLst>
            <pc:docMk/>
            <pc:sldMk cId="182184594" sldId="1727"/>
            <ac:spMk id="45" creationId="{6E5C84ED-942A-8A45-05B3-F75EFD1C70E9}"/>
          </ac:spMkLst>
        </pc:spChg>
        <pc:spChg chg="ord">
          <ac:chgData name="Darius Kuddo" userId="da7555aa-d650-4d73-b00b-d01e713f1329" providerId="ADAL" clId="{9A4B509C-EEE7-485A-994E-5919214B754D}" dt="2025-02-20T01:31:07.298" v="1790" actId="167"/>
          <ac:spMkLst>
            <pc:docMk/>
            <pc:sldMk cId="182184594" sldId="1727"/>
            <ac:spMk id="46" creationId="{1A668F5F-996D-78C2-5BA7-8165BBDBCA63}"/>
          </ac:spMkLst>
        </pc:spChg>
        <pc:spChg chg="mod">
          <ac:chgData name="Darius Kuddo" userId="da7555aa-d650-4d73-b00b-d01e713f1329" providerId="ADAL" clId="{9A4B509C-EEE7-485A-994E-5919214B754D}" dt="2025-02-20T01:30:56.788" v="1784"/>
          <ac:spMkLst>
            <pc:docMk/>
            <pc:sldMk cId="182184594" sldId="1727"/>
            <ac:spMk id="47" creationId="{72CF3EAA-F46E-6E0E-C118-B9407F28FB00}"/>
          </ac:spMkLst>
        </pc:spChg>
        <pc:spChg chg="ord">
          <ac:chgData name="Darius Kuddo" userId="da7555aa-d650-4d73-b00b-d01e713f1329" providerId="ADAL" clId="{9A4B509C-EEE7-485A-994E-5919214B754D}" dt="2025-02-20T01:31:29.915" v="1805" actId="167"/>
          <ac:spMkLst>
            <pc:docMk/>
            <pc:sldMk cId="182184594" sldId="1727"/>
            <ac:spMk id="48" creationId="{AC4B1614-B06F-76F0-123C-28C155FBEDEB}"/>
          </ac:spMkLst>
        </pc:spChg>
        <pc:spChg chg="mod">
          <ac:chgData name="Darius Kuddo" userId="da7555aa-d650-4d73-b00b-d01e713f1329" providerId="ADAL" clId="{9A4B509C-EEE7-485A-994E-5919214B754D}" dt="2025-02-20T01:31:19.229" v="1799"/>
          <ac:spMkLst>
            <pc:docMk/>
            <pc:sldMk cId="182184594" sldId="1727"/>
            <ac:spMk id="49" creationId="{41DFC57A-318D-A170-D80A-3DA229372119}"/>
          </ac:spMkLst>
        </pc:spChg>
        <pc:spChg chg="ord">
          <ac:chgData name="Darius Kuddo" userId="da7555aa-d650-4d73-b00b-d01e713f1329" providerId="ADAL" clId="{9A4B509C-EEE7-485A-994E-5919214B754D}" dt="2025-02-20T01:32:22.516" v="1825" actId="167"/>
          <ac:spMkLst>
            <pc:docMk/>
            <pc:sldMk cId="182184594" sldId="1727"/>
            <ac:spMk id="50" creationId="{B36FCE8E-F930-61FC-E368-48AA03E7A520}"/>
          </ac:spMkLst>
        </pc:spChg>
        <pc:spChg chg="mod">
          <ac:chgData name="Darius Kuddo" userId="da7555aa-d650-4d73-b00b-d01e713f1329" providerId="ADAL" clId="{9A4B509C-EEE7-485A-994E-5919214B754D}" dt="2025-02-20T01:32:02.611" v="1817"/>
          <ac:spMkLst>
            <pc:docMk/>
            <pc:sldMk cId="182184594" sldId="1727"/>
            <ac:spMk id="51" creationId="{A681877A-9AB3-D88E-EDD9-6D2B550F315A}"/>
          </ac:spMkLst>
        </pc:spChg>
        <pc:spChg chg="ord">
          <ac:chgData name="Darius Kuddo" userId="da7555aa-d650-4d73-b00b-d01e713f1329" providerId="ADAL" clId="{9A4B509C-EEE7-485A-994E-5919214B754D}" dt="2025-02-20T01:33:12.219" v="1859" actId="167"/>
          <ac:spMkLst>
            <pc:docMk/>
            <pc:sldMk cId="182184594" sldId="1727"/>
            <ac:spMk id="52" creationId="{BAE00359-C309-DA11-D350-08D722D80D58}"/>
          </ac:spMkLst>
        </pc:spChg>
        <pc:spChg chg="mod">
          <ac:chgData name="Darius Kuddo" userId="da7555aa-d650-4d73-b00b-d01e713f1329" providerId="ADAL" clId="{9A4B509C-EEE7-485A-994E-5919214B754D}" dt="2025-02-20T01:33:10.770" v="1858"/>
          <ac:spMkLst>
            <pc:docMk/>
            <pc:sldMk cId="182184594" sldId="1727"/>
            <ac:spMk id="53" creationId="{C71D1C29-D76D-6071-AEAD-D93DDD169C37}"/>
          </ac:spMkLst>
        </pc:spChg>
        <pc:spChg chg="add del mod">
          <ac:chgData name="Darius Kuddo" userId="da7555aa-d650-4d73-b00b-d01e713f1329" providerId="ADAL" clId="{9A4B509C-EEE7-485A-994E-5919214B754D}" dt="2025-02-20T01:36:24.101" v="1954" actId="478"/>
          <ac:spMkLst>
            <pc:docMk/>
            <pc:sldMk cId="182184594" sldId="1727"/>
            <ac:spMk id="63" creationId="{2C74924C-AAB4-A9CD-8D75-9B290EE50FE0}"/>
          </ac:spMkLst>
        </pc:spChg>
        <pc:spChg chg="ord">
          <ac:chgData name="Darius Kuddo" userId="da7555aa-d650-4d73-b00b-d01e713f1329" providerId="ADAL" clId="{9A4B509C-EEE7-485A-994E-5919214B754D}" dt="2025-02-20T01:33:53.364" v="1877" actId="167"/>
          <ac:spMkLst>
            <pc:docMk/>
            <pc:sldMk cId="182184594" sldId="1727"/>
            <ac:spMk id="66" creationId="{D28E5C0C-1676-F8AA-FC8A-0D447A148FA2}"/>
          </ac:spMkLst>
        </pc:spChg>
        <pc:spChg chg="mod">
          <ac:chgData name="Darius Kuddo" userId="da7555aa-d650-4d73-b00b-d01e713f1329" providerId="ADAL" clId="{9A4B509C-EEE7-485A-994E-5919214B754D}" dt="2025-02-20T01:33:25.352" v="1861"/>
          <ac:spMkLst>
            <pc:docMk/>
            <pc:sldMk cId="182184594" sldId="1727"/>
            <ac:spMk id="67" creationId="{3286D2A5-AF5B-3C75-9129-3834285DC56A}"/>
          </ac:spMkLst>
        </pc:spChg>
        <pc:spChg chg="add del mod">
          <ac:chgData name="Darius Kuddo" userId="da7555aa-d650-4d73-b00b-d01e713f1329" providerId="ADAL" clId="{9A4B509C-EEE7-485A-994E-5919214B754D}" dt="2025-02-20T01:36:24.101" v="1954" actId="478"/>
          <ac:spMkLst>
            <pc:docMk/>
            <pc:sldMk cId="182184594" sldId="1727"/>
            <ac:spMk id="71" creationId="{F7C765D7-4156-59A1-385B-82914DB6E220}"/>
          </ac:spMkLst>
        </pc:spChg>
        <pc:spChg chg="add del mod">
          <ac:chgData name="Darius Kuddo" userId="da7555aa-d650-4d73-b00b-d01e713f1329" providerId="ADAL" clId="{9A4B509C-EEE7-485A-994E-5919214B754D}" dt="2025-02-20T01:36:24.101" v="1954" actId="478"/>
          <ac:spMkLst>
            <pc:docMk/>
            <pc:sldMk cId="182184594" sldId="1727"/>
            <ac:spMk id="73" creationId="{084258F8-D983-6262-8D0C-D50848997D15}"/>
          </ac:spMkLst>
        </pc:spChg>
        <pc:spChg chg="add del mod">
          <ac:chgData name="Darius Kuddo" userId="da7555aa-d650-4d73-b00b-d01e713f1329" providerId="ADAL" clId="{9A4B509C-EEE7-485A-994E-5919214B754D}" dt="2025-02-20T01:36:24.101" v="1954" actId="478"/>
          <ac:spMkLst>
            <pc:docMk/>
            <pc:sldMk cId="182184594" sldId="1727"/>
            <ac:spMk id="75" creationId="{1ED6AC1B-F777-D168-9D89-2C4ED4A02793}"/>
          </ac:spMkLst>
        </pc:spChg>
        <pc:spChg chg="add del mod">
          <ac:chgData name="Darius Kuddo" userId="da7555aa-d650-4d73-b00b-d01e713f1329" providerId="ADAL" clId="{9A4B509C-EEE7-485A-994E-5919214B754D}" dt="2025-02-20T01:36:24.101" v="1954" actId="478"/>
          <ac:spMkLst>
            <pc:docMk/>
            <pc:sldMk cId="182184594" sldId="1727"/>
            <ac:spMk id="82" creationId="{CD7DB445-8B45-9B6E-FFBE-132023766CE4}"/>
          </ac:spMkLst>
        </pc:spChg>
        <pc:spChg chg="add del mod">
          <ac:chgData name="Darius Kuddo" userId="da7555aa-d650-4d73-b00b-d01e713f1329" providerId="ADAL" clId="{9A4B509C-EEE7-485A-994E-5919214B754D}" dt="2025-02-20T01:36:24.101" v="1954" actId="478"/>
          <ac:spMkLst>
            <pc:docMk/>
            <pc:sldMk cId="182184594" sldId="1727"/>
            <ac:spMk id="84" creationId="{7B3DD04F-BD9B-7F95-C6DE-40CFDC748A08}"/>
          </ac:spMkLst>
        </pc:spChg>
        <pc:spChg chg="mod">
          <ac:chgData name="Darius Kuddo" userId="da7555aa-d650-4d73-b00b-d01e713f1329" providerId="ADAL" clId="{9A4B509C-EEE7-485A-994E-5919214B754D}" dt="2025-02-20T01:26:13.696" v="1685" actId="20577"/>
          <ac:spMkLst>
            <pc:docMk/>
            <pc:sldMk cId="182184594" sldId="1727"/>
            <ac:spMk id="99" creationId="{F43E4472-2991-8643-826B-A7F6FD667D5A}"/>
          </ac:spMkLst>
        </pc:spChg>
        <pc:graphicFrameChg chg="mod modGraphic">
          <ac:chgData name="Darius Kuddo" userId="da7555aa-d650-4d73-b00b-d01e713f1329" providerId="ADAL" clId="{9A4B509C-EEE7-485A-994E-5919214B754D}" dt="2025-02-20T02:28:46.718" v="4604"/>
          <ac:graphicFrameMkLst>
            <pc:docMk/>
            <pc:sldMk cId="182184594" sldId="1727"/>
            <ac:graphicFrameMk id="2" creationId="{882A5AB1-CF0F-FCDA-34E3-6375BE4F1C39}"/>
          </ac:graphicFrameMkLst>
        </pc:graphicFrameChg>
        <pc:picChg chg="add mod">
          <ac:chgData name="Darius Kuddo" userId="da7555aa-d650-4d73-b00b-d01e713f1329" providerId="ADAL" clId="{9A4B509C-EEE7-485A-994E-5919214B754D}" dt="2025-02-20T01:26:33.556" v="1686"/>
          <ac:picMkLst>
            <pc:docMk/>
            <pc:sldMk cId="182184594" sldId="1727"/>
            <ac:picMk id="7" creationId="{45036EEE-A6B6-71DC-CF8E-1E2FE0CEF1B3}"/>
          </ac:picMkLst>
        </pc:picChg>
        <pc:picChg chg="add mod">
          <ac:chgData name="Darius Kuddo" userId="da7555aa-d650-4d73-b00b-d01e713f1329" providerId="ADAL" clId="{9A4B509C-EEE7-485A-994E-5919214B754D}" dt="2025-02-20T01:26:33.556" v="1686"/>
          <ac:picMkLst>
            <pc:docMk/>
            <pc:sldMk cId="182184594" sldId="1727"/>
            <ac:picMk id="8" creationId="{1EAEE45B-7CDE-3780-C596-DA83D742B6A4}"/>
          </ac:picMkLst>
        </pc:picChg>
        <pc:picChg chg="add mod">
          <ac:chgData name="Darius Kuddo" userId="da7555aa-d650-4d73-b00b-d01e713f1329" providerId="ADAL" clId="{9A4B509C-EEE7-485A-994E-5919214B754D}" dt="2025-02-20T01:26:33.556" v="1686"/>
          <ac:picMkLst>
            <pc:docMk/>
            <pc:sldMk cId="182184594" sldId="1727"/>
            <ac:picMk id="9" creationId="{EC4F24B9-39DD-286D-F225-B872F3BC262B}"/>
          </ac:picMkLst>
        </pc:picChg>
        <pc:picChg chg="add mod">
          <ac:chgData name="Darius Kuddo" userId="da7555aa-d650-4d73-b00b-d01e713f1329" providerId="ADAL" clId="{9A4B509C-EEE7-485A-994E-5919214B754D}" dt="2025-02-20T01:26:33.556" v="1686"/>
          <ac:picMkLst>
            <pc:docMk/>
            <pc:sldMk cId="182184594" sldId="1727"/>
            <ac:picMk id="10" creationId="{B6118725-996C-C8D9-C14C-487CD3A67C3B}"/>
          </ac:picMkLst>
        </pc:picChg>
        <pc:picChg chg="add mod">
          <ac:chgData name="Darius Kuddo" userId="da7555aa-d650-4d73-b00b-d01e713f1329" providerId="ADAL" clId="{9A4B509C-EEE7-485A-994E-5919214B754D}" dt="2025-02-20T01:29:12.692" v="1729" actId="167"/>
          <ac:picMkLst>
            <pc:docMk/>
            <pc:sldMk cId="182184594" sldId="1727"/>
            <ac:picMk id="15" creationId="{E9D1DEF4-265B-724D-1D31-6C521786FC3A}"/>
          </ac:picMkLst>
        </pc:picChg>
        <pc:picChg chg="add mod">
          <ac:chgData name="Darius Kuddo" userId="da7555aa-d650-4d73-b00b-d01e713f1329" providerId="ADAL" clId="{9A4B509C-EEE7-485A-994E-5919214B754D}" dt="2025-02-20T01:29:12.692" v="1729" actId="167"/>
          <ac:picMkLst>
            <pc:docMk/>
            <pc:sldMk cId="182184594" sldId="1727"/>
            <ac:picMk id="16" creationId="{B473F69B-CF8F-4B0E-68AB-DE2DFB71270E}"/>
          </ac:picMkLst>
        </pc:picChg>
        <pc:picChg chg="add del mod">
          <ac:chgData name="Darius Kuddo" userId="da7555aa-d650-4d73-b00b-d01e713f1329" providerId="ADAL" clId="{9A4B509C-EEE7-485A-994E-5919214B754D}" dt="2025-02-20T01:29:24.921" v="1734" actId="478"/>
          <ac:picMkLst>
            <pc:docMk/>
            <pc:sldMk cId="182184594" sldId="1727"/>
            <ac:picMk id="17" creationId="{1BCA7080-1500-D865-F99A-DBB58531D427}"/>
          </ac:picMkLst>
        </pc:picChg>
        <pc:picChg chg="add del mod">
          <ac:chgData name="Darius Kuddo" userId="da7555aa-d650-4d73-b00b-d01e713f1329" providerId="ADAL" clId="{9A4B509C-EEE7-485A-994E-5919214B754D}" dt="2025-02-20T01:29:24.921" v="1734" actId="478"/>
          <ac:picMkLst>
            <pc:docMk/>
            <pc:sldMk cId="182184594" sldId="1727"/>
            <ac:picMk id="18" creationId="{FB638412-B475-20FB-9E27-F8DBC86108F3}"/>
          </ac:picMkLst>
        </pc:picChg>
        <pc:picChg chg="add del mod">
          <ac:chgData name="Darius Kuddo" userId="da7555aa-d650-4d73-b00b-d01e713f1329" providerId="ADAL" clId="{9A4B509C-EEE7-485A-994E-5919214B754D}" dt="2025-02-20T01:30:47.459" v="1781" actId="478"/>
          <ac:picMkLst>
            <pc:docMk/>
            <pc:sldMk cId="182184594" sldId="1727"/>
            <ac:picMk id="25" creationId="{792866F8-EE30-012C-02A7-A8C126661590}"/>
          </ac:picMkLst>
        </pc:picChg>
        <pc:picChg chg="add del mod">
          <ac:chgData name="Darius Kuddo" userId="da7555aa-d650-4d73-b00b-d01e713f1329" providerId="ADAL" clId="{9A4B509C-EEE7-485A-994E-5919214B754D}" dt="2025-02-20T01:30:47.459" v="1781" actId="478"/>
          <ac:picMkLst>
            <pc:docMk/>
            <pc:sldMk cId="182184594" sldId="1727"/>
            <ac:picMk id="26" creationId="{4BBDE989-EBD1-B01C-0FD6-70F56976E21F}"/>
          </ac:picMkLst>
        </pc:picChg>
        <pc:picChg chg="add mod">
          <ac:chgData name="Darius Kuddo" userId="da7555aa-d650-4d73-b00b-d01e713f1329" providerId="ADAL" clId="{9A4B509C-EEE7-485A-994E-5919214B754D}" dt="2025-02-20T01:31:04.610" v="1788" actId="167"/>
          <ac:picMkLst>
            <pc:docMk/>
            <pc:sldMk cId="182184594" sldId="1727"/>
            <ac:picMk id="32" creationId="{D0EE9735-4EB1-4574-5262-EF8A6235D7B6}"/>
          </ac:picMkLst>
        </pc:picChg>
        <pc:picChg chg="add del mod">
          <ac:chgData name="Darius Kuddo" userId="da7555aa-d650-4d73-b00b-d01e713f1329" providerId="ADAL" clId="{9A4B509C-EEE7-485A-994E-5919214B754D}" dt="2025-02-20T01:31:34.205" v="1806" actId="478"/>
          <ac:picMkLst>
            <pc:docMk/>
            <pc:sldMk cId="182184594" sldId="1727"/>
            <ac:picMk id="33" creationId="{6E2B7E1C-1512-5EB9-63A6-EAD780826CF0}"/>
          </ac:picMkLst>
        </pc:picChg>
        <pc:picChg chg="del mod">
          <ac:chgData name="Darius Kuddo" userId="da7555aa-d650-4d73-b00b-d01e713f1329" providerId="ADAL" clId="{9A4B509C-EEE7-485A-994E-5919214B754D}" dt="2025-02-20T01:30:41.370" v="1779" actId="478"/>
          <ac:picMkLst>
            <pc:docMk/>
            <pc:sldMk cId="182184594" sldId="1727"/>
            <ac:picMk id="35" creationId="{18AEAFD2-06E1-8217-2F5C-2FBA85A7E2F7}"/>
          </ac:picMkLst>
        </pc:picChg>
        <pc:picChg chg="del mod">
          <ac:chgData name="Darius Kuddo" userId="da7555aa-d650-4d73-b00b-d01e713f1329" providerId="ADAL" clId="{9A4B509C-EEE7-485A-994E-5919214B754D}" dt="2025-02-20T01:29:15.329" v="1730" actId="478"/>
          <ac:picMkLst>
            <pc:docMk/>
            <pc:sldMk cId="182184594" sldId="1727"/>
            <ac:picMk id="37" creationId="{A34F9564-A78B-5BA3-5750-1CF974BEB2F2}"/>
          </ac:picMkLst>
        </pc:picChg>
        <pc:picChg chg="mod">
          <ac:chgData name="Darius Kuddo" userId="da7555aa-d650-4d73-b00b-d01e713f1329" providerId="ADAL" clId="{9A4B509C-EEE7-485A-994E-5919214B754D}" dt="2025-02-20T01:34:47.386" v="1893" actId="2085"/>
          <ac:picMkLst>
            <pc:docMk/>
            <pc:sldMk cId="182184594" sldId="1727"/>
            <ac:picMk id="55" creationId="{A02C27E6-584A-9941-A37B-B1EA5B9A3CB8}"/>
          </ac:picMkLst>
        </pc:picChg>
        <pc:picChg chg="del mod">
          <ac:chgData name="Darius Kuddo" userId="da7555aa-d650-4d73-b00b-d01e713f1329" providerId="ADAL" clId="{9A4B509C-EEE7-485A-994E-5919214B754D}" dt="2025-02-20T01:31:28.248" v="1804" actId="478"/>
          <ac:picMkLst>
            <pc:docMk/>
            <pc:sldMk cId="182184594" sldId="1727"/>
            <ac:picMk id="57" creationId="{261BC0FB-B725-1631-BE31-F93C21CCB3CC}"/>
          </ac:picMkLst>
        </pc:picChg>
        <pc:picChg chg="del mod">
          <ac:chgData name="Darius Kuddo" userId="da7555aa-d650-4d73-b00b-d01e713f1329" providerId="ADAL" clId="{9A4B509C-EEE7-485A-994E-5919214B754D}" dt="2025-02-20T01:32:21.244" v="1824" actId="478"/>
          <ac:picMkLst>
            <pc:docMk/>
            <pc:sldMk cId="182184594" sldId="1727"/>
            <ac:picMk id="58" creationId="{324EF455-D3B9-78D2-8CED-7A7CFCA0275B}"/>
          </ac:picMkLst>
        </pc:picChg>
        <pc:picChg chg="del mod">
          <ac:chgData name="Darius Kuddo" userId="da7555aa-d650-4d73-b00b-d01e713f1329" providerId="ADAL" clId="{9A4B509C-EEE7-485A-994E-5919214B754D}" dt="2025-02-20T01:31:49.642" v="1812" actId="478"/>
          <ac:picMkLst>
            <pc:docMk/>
            <pc:sldMk cId="182184594" sldId="1727"/>
            <ac:picMk id="59" creationId="{8F90A0F4-D57A-46D1-9CDC-7EB0B9283BBE}"/>
          </ac:picMkLst>
        </pc:picChg>
        <pc:picChg chg="add mod">
          <ac:chgData name="Darius Kuddo" userId="da7555aa-d650-4d73-b00b-d01e713f1329" providerId="ADAL" clId="{9A4B509C-EEE7-485A-994E-5919214B754D}" dt="2025-02-20T01:31:27.261" v="1803" actId="167"/>
          <ac:picMkLst>
            <pc:docMk/>
            <pc:sldMk cId="182184594" sldId="1727"/>
            <ac:picMk id="60" creationId="{F495EB33-4831-F07E-C813-18C40CBEDB71}"/>
          </ac:picMkLst>
        </pc:picChg>
        <pc:picChg chg="del mod">
          <ac:chgData name="Darius Kuddo" userId="da7555aa-d650-4d73-b00b-d01e713f1329" providerId="ADAL" clId="{9A4B509C-EEE7-485A-994E-5919214B754D}" dt="2025-02-20T01:34:14.208" v="1884" actId="478"/>
          <ac:picMkLst>
            <pc:docMk/>
            <pc:sldMk cId="182184594" sldId="1727"/>
            <ac:picMk id="61" creationId="{B2D60B3F-1A3E-352A-13ED-B69C62B3C587}"/>
          </ac:picMkLst>
        </pc:picChg>
        <pc:picChg chg="add del mod">
          <ac:chgData name="Darius Kuddo" userId="da7555aa-d650-4d73-b00b-d01e713f1329" providerId="ADAL" clId="{9A4B509C-EEE7-485A-994E-5919214B754D}" dt="2025-02-20T01:31:34.205" v="1806" actId="478"/>
          <ac:picMkLst>
            <pc:docMk/>
            <pc:sldMk cId="182184594" sldId="1727"/>
            <ac:picMk id="62" creationId="{2E1A2611-D529-0EA7-F9E2-9C665A40EFAC}"/>
          </ac:picMkLst>
        </pc:picChg>
        <pc:picChg chg="del">
          <ac:chgData name="Darius Kuddo" userId="da7555aa-d650-4d73-b00b-d01e713f1329" providerId="ADAL" clId="{9A4B509C-EEE7-485A-994E-5919214B754D}" dt="2025-02-20T01:34:25.594" v="1888" actId="478"/>
          <ac:picMkLst>
            <pc:docMk/>
            <pc:sldMk cId="182184594" sldId="1727"/>
            <ac:picMk id="64" creationId="{84463D22-C750-1400-2BF7-60B76C273368}"/>
          </ac:picMkLst>
        </pc:picChg>
        <pc:picChg chg="del mod">
          <ac:chgData name="Darius Kuddo" userId="da7555aa-d650-4d73-b00b-d01e713f1329" providerId="ADAL" clId="{9A4B509C-EEE7-485A-994E-5919214B754D}" dt="2025-02-20T01:35:42.744" v="1927" actId="478"/>
          <ac:picMkLst>
            <pc:docMk/>
            <pc:sldMk cId="182184594" sldId="1727"/>
            <ac:picMk id="65" creationId="{117A8F17-00F4-B88F-E0C1-40D7FB5ACD70}"/>
          </ac:picMkLst>
        </pc:picChg>
        <pc:picChg chg="del mod">
          <ac:chgData name="Darius Kuddo" userId="da7555aa-d650-4d73-b00b-d01e713f1329" providerId="ADAL" clId="{9A4B509C-EEE7-485A-994E-5919214B754D}" dt="2025-02-20T01:33:03.965" v="1857" actId="478"/>
          <ac:picMkLst>
            <pc:docMk/>
            <pc:sldMk cId="182184594" sldId="1727"/>
            <ac:picMk id="68" creationId="{B4FEBA63-DE1F-A7D9-C815-0DB58DBC0C94}"/>
          </ac:picMkLst>
        </pc:picChg>
        <pc:picChg chg="del mod">
          <ac:chgData name="Darius Kuddo" userId="da7555aa-d650-4d73-b00b-d01e713f1329" providerId="ADAL" clId="{9A4B509C-EEE7-485A-994E-5919214B754D}" dt="2025-02-20T01:30:10.049" v="1767" actId="478"/>
          <ac:picMkLst>
            <pc:docMk/>
            <pc:sldMk cId="182184594" sldId="1727"/>
            <ac:picMk id="69" creationId="{31987149-2C95-7D75-C523-82259427DBCF}"/>
          </ac:picMkLst>
        </pc:picChg>
        <pc:picChg chg="del mod">
          <ac:chgData name="Darius Kuddo" userId="da7555aa-d650-4d73-b00b-d01e713f1329" providerId="ADAL" clId="{9A4B509C-EEE7-485A-994E-5919214B754D}" dt="2025-02-20T01:36:05.952" v="1936" actId="478"/>
          <ac:picMkLst>
            <pc:docMk/>
            <pc:sldMk cId="182184594" sldId="1727"/>
            <ac:picMk id="70" creationId="{F5E78F99-6AAB-9F49-CD09-F056616E8FB7}"/>
          </ac:picMkLst>
        </pc:picChg>
        <pc:picChg chg="del mod">
          <ac:chgData name="Darius Kuddo" userId="da7555aa-d650-4d73-b00b-d01e713f1329" providerId="ADAL" clId="{9A4B509C-EEE7-485A-994E-5919214B754D}" dt="2025-02-20T01:29:15.329" v="1730" actId="478"/>
          <ac:picMkLst>
            <pc:docMk/>
            <pc:sldMk cId="182184594" sldId="1727"/>
            <ac:picMk id="72" creationId="{5F36016E-828D-5564-1A27-74074AE40668}"/>
          </ac:picMkLst>
        </pc:picChg>
        <pc:picChg chg="del mod">
          <ac:chgData name="Darius Kuddo" userId="da7555aa-d650-4d73-b00b-d01e713f1329" providerId="ADAL" clId="{9A4B509C-EEE7-485A-994E-5919214B754D}" dt="2025-02-20T01:31:05.573" v="1789" actId="478"/>
          <ac:picMkLst>
            <pc:docMk/>
            <pc:sldMk cId="182184594" sldId="1727"/>
            <ac:picMk id="74" creationId="{7EB238D5-D94D-041C-118C-DB4DF7AABCBB}"/>
          </ac:picMkLst>
        </pc:picChg>
        <pc:picChg chg="del mod">
          <ac:chgData name="Darius Kuddo" userId="da7555aa-d650-4d73-b00b-d01e713f1329" providerId="ADAL" clId="{9A4B509C-EEE7-485A-994E-5919214B754D}" dt="2025-02-20T01:36:19.644" v="1952" actId="478"/>
          <ac:picMkLst>
            <pc:docMk/>
            <pc:sldMk cId="182184594" sldId="1727"/>
            <ac:picMk id="76" creationId="{5C19022F-6EFE-F193-ADAE-CF35491C4CFE}"/>
          </ac:picMkLst>
        </pc:picChg>
        <pc:picChg chg="add del mod">
          <ac:chgData name="Darius Kuddo" userId="da7555aa-d650-4d73-b00b-d01e713f1329" providerId="ADAL" clId="{9A4B509C-EEE7-485A-994E-5919214B754D}" dt="2025-02-20T01:36:24.101" v="1954" actId="478"/>
          <ac:picMkLst>
            <pc:docMk/>
            <pc:sldMk cId="182184594" sldId="1727"/>
            <ac:picMk id="77" creationId="{BAC0C29A-B180-4CDE-7F78-CE29CD0BDF63}"/>
          </ac:picMkLst>
        </pc:picChg>
        <pc:picChg chg="add mod">
          <ac:chgData name="Darius Kuddo" userId="da7555aa-d650-4d73-b00b-d01e713f1329" providerId="ADAL" clId="{9A4B509C-EEE7-485A-994E-5919214B754D}" dt="2025-02-20T01:34:32.271" v="1891" actId="552"/>
          <ac:picMkLst>
            <pc:docMk/>
            <pc:sldMk cId="182184594" sldId="1727"/>
            <ac:picMk id="78" creationId="{F12A98F9-116C-CC97-6666-CB7337B13B47}"/>
          </ac:picMkLst>
        </pc:picChg>
        <pc:picChg chg="add del mod">
          <ac:chgData name="Darius Kuddo" userId="da7555aa-d650-4d73-b00b-d01e713f1329" providerId="ADAL" clId="{9A4B509C-EEE7-485A-994E-5919214B754D}" dt="2025-02-20T01:36:24.101" v="1954" actId="478"/>
          <ac:picMkLst>
            <pc:docMk/>
            <pc:sldMk cId="182184594" sldId="1727"/>
            <ac:picMk id="79" creationId="{015F3725-0AAB-98FB-73B1-7C94AB9AD36D}"/>
          </ac:picMkLst>
        </pc:picChg>
        <pc:picChg chg="del mod">
          <ac:chgData name="Darius Kuddo" userId="da7555aa-d650-4d73-b00b-d01e713f1329" providerId="ADAL" clId="{9A4B509C-EEE7-485A-994E-5919214B754D}" dt="2025-02-20T01:33:52.013" v="1876" actId="478"/>
          <ac:picMkLst>
            <pc:docMk/>
            <pc:sldMk cId="182184594" sldId="1727"/>
            <ac:picMk id="80" creationId="{FF3F1CE3-5405-46DB-FA67-2F8471829F64}"/>
          </ac:picMkLst>
        </pc:picChg>
        <pc:picChg chg="add mod">
          <ac:chgData name="Darius Kuddo" userId="da7555aa-d650-4d73-b00b-d01e713f1329" providerId="ADAL" clId="{9A4B509C-EEE7-485A-994E-5919214B754D}" dt="2025-02-20T01:35:01.361" v="1904" actId="1037"/>
          <ac:picMkLst>
            <pc:docMk/>
            <pc:sldMk cId="182184594" sldId="1727"/>
            <ac:picMk id="81" creationId="{9CA851CF-E7A0-05BA-D17C-2EEA0421232D}"/>
          </ac:picMkLst>
        </pc:picChg>
        <pc:picChg chg="del mod">
          <ac:chgData name="Darius Kuddo" userId="da7555aa-d650-4d73-b00b-d01e713f1329" providerId="ADAL" clId="{9A4B509C-EEE7-485A-994E-5919214B754D}" dt="2025-02-20T01:32:46.113" v="1849" actId="478"/>
          <ac:picMkLst>
            <pc:docMk/>
            <pc:sldMk cId="182184594" sldId="1727"/>
            <ac:picMk id="83" creationId="{18DAED14-F651-781E-7D75-4D3D0213E189}"/>
          </ac:picMkLst>
        </pc:picChg>
        <pc:picChg chg="add mod">
          <ac:chgData name="Darius Kuddo" userId="da7555aa-d650-4d73-b00b-d01e713f1329" providerId="ADAL" clId="{9A4B509C-EEE7-485A-994E-5919214B754D}" dt="2025-02-20T01:36:18.627" v="1951" actId="167"/>
          <ac:picMkLst>
            <pc:docMk/>
            <pc:sldMk cId="182184594" sldId="1727"/>
            <ac:picMk id="85" creationId="{8CB2D544-B07E-1AB6-9998-7E85B45C4EFF}"/>
          </ac:picMkLst>
        </pc:picChg>
        <pc:picChg chg="del mod">
          <ac:chgData name="Darius Kuddo" userId="da7555aa-d650-4d73-b00b-d01e713f1329" providerId="ADAL" clId="{9A4B509C-EEE7-485A-994E-5919214B754D}" dt="2025-02-20T01:33:39.236" v="1868" actId="478"/>
          <ac:picMkLst>
            <pc:docMk/>
            <pc:sldMk cId="182184594" sldId="1727"/>
            <ac:picMk id="86" creationId="{0A0014CC-EB64-F783-409D-751D329B26D0}"/>
          </ac:picMkLst>
        </pc:picChg>
        <pc:picChg chg="add mod">
          <ac:chgData name="Darius Kuddo" userId="da7555aa-d650-4d73-b00b-d01e713f1329" providerId="ADAL" clId="{9A4B509C-EEE7-485A-994E-5919214B754D}" dt="2025-02-20T01:36:04.809" v="1935" actId="167"/>
          <ac:picMkLst>
            <pc:docMk/>
            <pc:sldMk cId="182184594" sldId="1727"/>
            <ac:picMk id="87" creationId="{DC180EBE-07DF-9635-D215-1C2EBCDBA934}"/>
          </ac:picMkLst>
        </pc:picChg>
        <pc:picChg chg="add mod ord">
          <ac:chgData name="Darius Kuddo" userId="da7555aa-d650-4d73-b00b-d01e713f1329" providerId="ADAL" clId="{9A4B509C-EEE7-485A-994E-5919214B754D}" dt="2025-02-20T01:29:46.223" v="1740" actId="167"/>
          <ac:picMkLst>
            <pc:docMk/>
            <pc:sldMk cId="182184594" sldId="1727"/>
            <ac:picMk id="88" creationId="{25E009A0-2392-2D27-729D-DFC19BFA02A2}"/>
          </ac:picMkLst>
        </pc:picChg>
        <pc:picChg chg="del mod">
          <ac:chgData name="Darius Kuddo" userId="da7555aa-d650-4d73-b00b-d01e713f1329" providerId="ADAL" clId="{9A4B509C-EEE7-485A-994E-5919214B754D}" dt="2025-02-20T01:29:47.442" v="1741" actId="478"/>
          <ac:picMkLst>
            <pc:docMk/>
            <pc:sldMk cId="182184594" sldId="1727"/>
            <ac:picMk id="89" creationId="{B3D51A17-1572-BDA9-9CA1-A0CB30CBF284}"/>
          </ac:picMkLst>
        </pc:picChg>
        <pc:picChg chg="add mod">
          <ac:chgData name="Darius Kuddo" userId="da7555aa-d650-4d73-b00b-d01e713f1329" providerId="ADAL" clId="{9A4B509C-EEE7-485A-994E-5919214B754D}" dt="2025-02-20T01:30:08.897" v="1766" actId="167"/>
          <ac:picMkLst>
            <pc:docMk/>
            <pc:sldMk cId="182184594" sldId="1727"/>
            <ac:picMk id="91" creationId="{2E68F7D4-2515-9BF3-D7AB-B1F78B49F9F2}"/>
          </ac:picMkLst>
        </pc:picChg>
        <pc:picChg chg="del mod">
          <ac:chgData name="Darius Kuddo" userId="da7555aa-d650-4d73-b00b-d01e713f1329" providerId="ADAL" clId="{9A4B509C-EEE7-485A-994E-5919214B754D}" dt="2025-02-20T01:35:17.686" v="1912" actId="478"/>
          <ac:picMkLst>
            <pc:docMk/>
            <pc:sldMk cId="182184594" sldId="1727"/>
            <ac:picMk id="92" creationId="{0A824A01-A1A1-454B-26B0-A76BC68F8865}"/>
          </ac:picMkLst>
        </pc:picChg>
        <pc:picChg chg="add mod">
          <ac:chgData name="Darius Kuddo" userId="da7555aa-d650-4d73-b00b-d01e713f1329" providerId="ADAL" clId="{9A4B509C-EEE7-485A-994E-5919214B754D}" dt="2025-02-20T01:30:40.279" v="1778" actId="167"/>
          <ac:picMkLst>
            <pc:docMk/>
            <pc:sldMk cId="182184594" sldId="1727"/>
            <ac:picMk id="93" creationId="{26230F7D-7521-787E-FA91-96C93F852951}"/>
          </ac:picMkLst>
        </pc:picChg>
        <pc:picChg chg="add mod ord">
          <ac:chgData name="Darius Kuddo" userId="da7555aa-d650-4d73-b00b-d01e713f1329" providerId="ADAL" clId="{9A4B509C-EEE7-485A-994E-5919214B754D}" dt="2025-02-20T01:34:47.386" v="1893" actId="2085"/>
          <ac:picMkLst>
            <pc:docMk/>
            <pc:sldMk cId="182184594" sldId="1727"/>
            <ac:picMk id="94" creationId="{CBC95FCB-1723-A750-1116-885EB1294155}"/>
          </ac:picMkLst>
        </pc:picChg>
        <pc:picChg chg="add mod">
          <ac:chgData name="Darius Kuddo" userId="da7555aa-d650-4d73-b00b-d01e713f1329" providerId="ADAL" clId="{9A4B509C-EEE7-485A-994E-5919214B754D}" dt="2025-02-20T01:34:32.271" v="1891" actId="552"/>
          <ac:picMkLst>
            <pc:docMk/>
            <pc:sldMk cId="182184594" sldId="1727"/>
            <ac:picMk id="95" creationId="{A4DCF688-43D0-D766-1BD5-A5BF1C4C3531}"/>
          </ac:picMkLst>
        </pc:picChg>
        <pc:picChg chg="add mod ord">
          <ac:chgData name="Darius Kuddo" userId="da7555aa-d650-4d73-b00b-d01e713f1329" providerId="ADAL" clId="{9A4B509C-EEE7-485A-994E-5919214B754D}" dt="2025-02-20T01:32:44.608" v="1848" actId="167"/>
          <ac:picMkLst>
            <pc:docMk/>
            <pc:sldMk cId="182184594" sldId="1727"/>
            <ac:picMk id="96" creationId="{39A5EB86-8DF1-DA52-849D-8C56D8A90A6E}"/>
          </ac:picMkLst>
        </pc:picChg>
        <pc:picChg chg="mod">
          <ac:chgData name="Darius Kuddo" userId="da7555aa-d650-4d73-b00b-d01e713f1329" providerId="ADAL" clId="{9A4B509C-EEE7-485A-994E-5919214B754D}" dt="2025-02-20T01:34:47.386" v="1893" actId="2085"/>
          <ac:picMkLst>
            <pc:docMk/>
            <pc:sldMk cId="182184594" sldId="1727"/>
            <ac:picMk id="97" creationId="{0334C3FE-6CC7-AF91-A402-F873A12D60B6}"/>
          </ac:picMkLst>
        </pc:picChg>
        <pc:picChg chg="add mod ord">
          <ac:chgData name="Darius Kuddo" userId="da7555aa-d650-4d73-b00b-d01e713f1329" providerId="ADAL" clId="{9A4B509C-EEE7-485A-994E-5919214B754D}" dt="2025-02-20T01:33:01.778" v="1856" actId="167"/>
          <ac:picMkLst>
            <pc:docMk/>
            <pc:sldMk cId="182184594" sldId="1727"/>
            <ac:picMk id="100" creationId="{75E49E9B-5BC5-9809-916E-6833A1E48DFC}"/>
          </ac:picMkLst>
        </pc:picChg>
        <pc:picChg chg="add mod ord">
          <ac:chgData name="Darius Kuddo" userId="da7555aa-d650-4d73-b00b-d01e713f1329" providerId="ADAL" clId="{9A4B509C-EEE7-485A-994E-5919214B754D}" dt="2025-02-20T01:33:37.566" v="1867" actId="167"/>
          <ac:picMkLst>
            <pc:docMk/>
            <pc:sldMk cId="182184594" sldId="1727"/>
            <ac:picMk id="101" creationId="{DBCF41DA-9A8B-2B72-5F5A-50B5EDA60CB9}"/>
          </ac:picMkLst>
        </pc:picChg>
        <pc:picChg chg="add mod">
          <ac:chgData name="Darius Kuddo" userId="da7555aa-d650-4d73-b00b-d01e713f1329" providerId="ADAL" clId="{9A4B509C-EEE7-485A-994E-5919214B754D}" dt="2025-02-20T01:33:51.132" v="1875" actId="167"/>
          <ac:picMkLst>
            <pc:docMk/>
            <pc:sldMk cId="182184594" sldId="1727"/>
            <ac:picMk id="102" creationId="{4D11F9B2-B6D4-38A1-84A5-82B8B928C181}"/>
          </ac:picMkLst>
        </pc:picChg>
        <pc:picChg chg="add del mod">
          <ac:chgData name="Darius Kuddo" userId="da7555aa-d650-4d73-b00b-d01e713f1329" providerId="ADAL" clId="{9A4B509C-EEE7-485A-994E-5919214B754D}" dt="2025-02-20T01:34:03.730" v="1879" actId="478"/>
          <ac:picMkLst>
            <pc:docMk/>
            <pc:sldMk cId="182184594" sldId="1727"/>
            <ac:picMk id="103" creationId="{045B7288-A214-4441-0AA3-E413BB718770}"/>
          </ac:picMkLst>
        </pc:picChg>
        <pc:picChg chg="add mod ord">
          <ac:chgData name="Darius Kuddo" userId="da7555aa-d650-4d73-b00b-d01e713f1329" providerId="ADAL" clId="{9A4B509C-EEE7-485A-994E-5919214B754D}" dt="2025-02-20T01:35:16.498" v="1911" actId="167"/>
          <ac:picMkLst>
            <pc:docMk/>
            <pc:sldMk cId="182184594" sldId="1727"/>
            <ac:picMk id="104" creationId="{34BCB3C1-BBEA-3920-7C2D-B15EB2DBD4D1}"/>
          </ac:picMkLst>
        </pc:picChg>
        <pc:picChg chg="add mod">
          <ac:chgData name="Darius Kuddo" userId="da7555aa-d650-4d73-b00b-d01e713f1329" providerId="ADAL" clId="{9A4B509C-EEE7-485A-994E-5919214B754D}" dt="2025-02-20T01:35:41.775" v="1926" actId="167"/>
          <ac:picMkLst>
            <pc:docMk/>
            <pc:sldMk cId="182184594" sldId="1727"/>
            <ac:picMk id="105" creationId="{73B25A1B-4155-1C83-ECA6-4BDE34CFD9D6}"/>
          </ac:picMkLst>
        </pc:picChg>
      </pc:sldChg>
      <pc:sldChg chg="addSp delSp modSp add del">
        <pc:chgData name="Darius Kuddo" userId="da7555aa-d650-4d73-b00b-d01e713f1329" providerId="ADAL" clId="{9A4B509C-EEE7-485A-994E-5919214B754D}" dt="2025-02-20T01:46:27.033" v="2190" actId="47"/>
        <pc:sldMkLst>
          <pc:docMk/>
          <pc:sldMk cId="3811477011" sldId="1728"/>
        </pc:sldMkLst>
        <pc:spChg chg="del mod topLvl">
          <ac:chgData name="Darius Kuddo" userId="da7555aa-d650-4d73-b00b-d01e713f1329" providerId="ADAL" clId="{9A4B509C-EEE7-485A-994E-5919214B754D}" dt="2025-02-20T01:38:51.224" v="1965" actId="478"/>
          <ac:spMkLst>
            <pc:docMk/>
            <pc:sldMk cId="3811477011" sldId="1728"/>
            <ac:spMk id="5" creationId="{3D3B188E-6CCC-A871-FD96-30FED60DD78E}"/>
          </ac:spMkLst>
        </pc:spChg>
        <pc:spChg chg="del">
          <ac:chgData name="Darius Kuddo" userId="da7555aa-d650-4d73-b00b-d01e713f1329" providerId="ADAL" clId="{9A4B509C-EEE7-485A-994E-5919214B754D}" dt="2025-02-20T01:38:51.224" v="1965" actId="478"/>
          <ac:spMkLst>
            <pc:docMk/>
            <pc:sldMk cId="3811477011" sldId="1728"/>
            <ac:spMk id="20" creationId="{E7EB82F6-1296-2550-4D2B-6A495092AB93}"/>
          </ac:spMkLst>
        </pc:spChg>
        <pc:spChg chg="del">
          <ac:chgData name="Darius Kuddo" userId="da7555aa-d650-4d73-b00b-d01e713f1329" providerId="ADAL" clId="{9A4B509C-EEE7-485A-994E-5919214B754D}" dt="2025-02-20T01:38:51.224" v="1965" actId="478"/>
          <ac:spMkLst>
            <pc:docMk/>
            <pc:sldMk cId="3811477011" sldId="1728"/>
            <ac:spMk id="21" creationId="{3C389DBB-72B1-BEC6-9E5F-C7840D53F595}"/>
          </ac:spMkLst>
        </pc:spChg>
        <pc:spChg chg="del">
          <ac:chgData name="Darius Kuddo" userId="da7555aa-d650-4d73-b00b-d01e713f1329" providerId="ADAL" clId="{9A4B509C-EEE7-485A-994E-5919214B754D}" dt="2025-02-20T01:38:51.224" v="1965" actId="478"/>
          <ac:spMkLst>
            <pc:docMk/>
            <pc:sldMk cId="3811477011" sldId="1728"/>
            <ac:spMk id="22" creationId="{A7104E02-F4AF-6357-10E9-8E023F0309B9}"/>
          </ac:spMkLst>
        </pc:spChg>
        <pc:spChg chg="del">
          <ac:chgData name="Darius Kuddo" userId="da7555aa-d650-4d73-b00b-d01e713f1329" providerId="ADAL" clId="{9A4B509C-EEE7-485A-994E-5919214B754D}" dt="2025-02-20T01:38:51.224" v="1965" actId="478"/>
          <ac:spMkLst>
            <pc:docMk/>
            <pc:sldMk cId="3811477011" sldId="1728"/>
            <ac:spMk id="23" creationId="{A736E3F7-2BAE-0F78-0F68-8A7833D09AD2}"/>
          </ac:spMkLst>
        </pc:spChg>
        <pc:spChg chg="mod topLvl">
          <ac:chgData name="Darius Kuddo" userId="da7555aa-d650-4d73-b00b-d01e713f1329" providerId="ADAL" clId="{9A4B509C-EEE7-485A-994E-5919214B754D}" dt="2025-02-20T01:38:55.451" v="1967" actId="165"/>
          <ac:spMkLst>
            <pc:docMk/>
            <pc:sldMk cId="3811477011" sldId="1728"/>
            <ac:spMk id="32" creationId="{BEA3F1A7-3281-039D-C961-17D99D8DBD7E}"/>
          </ac:spMkLst>
        </pc:spChg>
        <pc:spChg chg="mod topLvl">
          <ac:chgData name="Darius Kuddo" userId="da7555aa-d650-4d73-b00b-d01e713f1329" providerId="ADAL" clId="{9A4B509C-EEE7-485A-994E-5919214B754D}" dt="2025-02-20T01:38:55.451" v="1967" actId="165"/>
          <ac:spMkLst>
            <pc:docMk/>
            <pc:sldMk cId="3811477011" sldId="1728"/>
            <ac:spMk id="33" creationId="{726FD4C1-B2ED-155D-DE91-ECA08F4B4D49}"/>
          </ac:spMkLst>
        </pc:spChg>
        <pc:spChg chg="mod topLvl">
          <ac:chgData name="Darius Kuddo" userId="da7555aa-d650-4d73-b00b-d01e713f1329" providerId="ADAL" clId="{9A4B509C-EEE7-485A-994E-5919214B754D}" dt="2025-02-20T01:38:55.451" v="1967" actId="165"/>
          <ac:spMkLst>
            <pc:docMk/>
            <pc:sldMk cId="3811477011" sldId="1728"/>
            <ac:spMk id="34" creationId="{9062F732-8A53-9930-046C-C087A5967124}"/>
          </ac:spMkLst>
        </pc:spChg>
        <pc:spChg chg="add mod">
          <ac:chgData name="Darius Kuddo" userId="da7555aa-d650-4d73-b00b-d01e713f1329" providerId="ADAL" clId="{9A4B509C-EEE7-485A-994E-5919214B754D}" dt="2025-02-20T01:38:51.563" v="1966"/>
          <ac:spMkLst>
            <pc:docMk/>
            <pc:sldMk cId="3811477011" sldId="1728"/>
            <ac:spMk id="35" creationId="{624FFE9E-5AEC-B9A5-6D38-8E4EA3185559}"/>
          </ac:spMkLst>
        </pc:spChg>
        <pc:spChg chg="add mod">
          <ac:chgData name="Darius Kuddo" userId="da7555aa-d650-4d73-b00b-d01e713f1329" providerId="ADAL" clId="{9A4B509C-EEE7-485A-994E-5919214B754D}" dt="2025-02-20T01:38:51.563" v="1966"/>
          <ac:spMkLst>
            <pc:docMk/>
            <pc:sldMk cId="3811477011" sldId="1728"/>
            <ac:spMk id="37" creationId="{4C130E6A-97A6-857A-23DD-31B27209CA80}"/>
          </ac:spMkLst>
        </pc:spChg>
        <pc:spChg chg="mod topLvl">
          <ac:chgData name="Darius Kuddo" userId="da7555aa-d650-4d73-b00b-d01e713f1329" providerId="ADAL" clId="{9A4B509C-EEE7-485A-994E-5919214B754D}" dt="2025-02-20T01:38:55.451" v="1967" actId="165"/>
          <ac:spMkLst>
            <pc:docMk/>
            <pc:sldMk cId="3811477011" sldId="1728"/>
            <ac:spMk id="44" creationId="{270CD9A9-EEE8-ED28-611E-5CBB39B89424}"/>
          </ac:spMkLst>
        </pc:spChg>
        <pc:spChg chg="mod topLvl">
          <ac:chgData name="Darius Kuddo" userId="da7555aa-d650-4d73-b00b-d01e713f1329" providerId="ADAL" clId="{9A4B509C-EEE7-485A-994E-5919214B754D}" dt="2025-02-20T01:38:55.451" v="1967" actId="165"/>
          <ac:spMkLst>
            <pc:docMk/>
            <pc:sldMk cId="3811477011" sldId="1728"/>
            <ac:spMk id="45" creationId="{BDF5E2F3-DCC5-AED9-5F57-8D773E996163}"/>
          </ac:spMkLst>
        </pc:spChg>
        <pc:spChg chg="del">
          <ac:chgData name="Darius Kuddo" userId="da7555aa-d650-4d73-b00b-d01e713f1329" providerId="ADAL" clId="{9A4B509C-EEE7-485A-994E-5919214B754D}" dt="2025-02-20T01:38:51.224" v="1965" actId="478"/>
          <ac:spMkLst>
            <pc:docMk/>
            <pc:sldMk cId="3811477011" sldId="1728"/>
            <ac:spMk id="46" creationId="{93B3AD8F-8047-BD44-97CC-127FD7CF8B08}"/>
          </ac:spMkLst>
        </pc:spChg>
        <pc:spChg chg="mod topLvl">
          <ac:chgData name="Darius Kuddo" userId="da7555aa-d650-4d73-b00b-d01e713f1329" providerId="ADAL" clId="{9A4B509C-EEE7-485A-994E-5919214B754D}" dt="2025-02-20T01:38:55.451" v="1967" actId="165"/>
          <ac:spMkLst>
            <pc:docMk/>
            <pc:sldMk cId="3811477011" sldId="1728"/>
            <ac:spMk id="47" creationId="{625C6A00-EA20-27B9-46EA-669996B2AA66}"/>
          </ac:spMkLst>
        </pc:spChg>
        <pc:spChg chg="del">
          <ac:chgData name="Darius Kuddo" userId="da7555aa-d650-4d73-b00b-d01e713f1329" providerId="ADAL" clId="{9A4B509C-EEE7-485A-994E-5919214B754D}" dt="2025-02-20T01:38:51.224" v="1965" actId="478"/>
          <ac:spMkLst>
            <pc:docMk/>
            <pc:sldMk cId="3811477011" sldId="1728"/>
            <ac:spMk id="48" creationId="{43BE83A0-7B4E-572F-7DAB-4D411CCFEAFB}"/>
          </ac:spMkLst>
        </pc:spChg>
        <pc:spChg chg="del">
          <ac:chgData name="Darius Kuddo" userId="da7555aa-d650-4d73-b00b-d01e713f1329" providerId="ADAL" clId="{9A4B509C-EEE7-485A-994E-5919214B754D}" dt="2025-02-20T01:38:51.224" v="1965" actId="478"/>
          <ac:spMkLst>
            <pc:docMk/>
            <pc:sldMk cId="3811477011" sldId="1728"/>
            <ac:spMk id="49" creationId="{BD6B86CE-DABC-2C93-DF2D-5C077BE3AD43}"/>
          </ac:spMkLst>
        </pc:spChg>
        <pc:spChg chg="del">
          <ac:chgData name="Darius Kuddo" userId="da7555aa-d650-4d73-b00b-d01e713f1329" providerId="ADAL" clId="{9A4B509C-EEE7-485A-994E-5919214B754D}" dt="2025-02-20T01:38:51.224" v="1965" actId="478"/>
          <ac:spMkLst>
            <pc:docMk/>
            <pc:sldMk cId="3811477011" sldId="1728"/>
            <ac:spMk id="50" creationId="{869669AD-E55A-994D-16CA-8D930EE88666}"/>
          </ac:spMkLst>
        </pc:spChg>
        <pc:spChg chg="del">
          <ac:chgData name="Darius Kuddo" userId="da7555aa-d650-4d73-b00b-d01e713f1329" providerId="ADAL" clId="{9A4B509C-EEE7-485A-994E-5919214B754D}" dt="2025-02-20T01:38:51.224" v="1965" actId="478"/>
          <ac:spMkLst>
            <pc:docMk/>
            <pc:sldMk cId="3811477011" sldId="1728"/>
            <ac:spMk id="51" creationId="{81F6BD90-F059-8273-8948-F2C0275B9892}"/>
          </ac:spMkLst>
        </pc:spChg>
        <pc:spChg chg="mod topLvl">
          <ac:chgData name="Darius Kuddo" userId="da7555aa-d650-4d73-b00b-d01e713f1329" providerId="ADAL" clId="{9A4B509C-EEE7-485A-994E-5919214B754D}" dt="2025-02-20T01:38:55.451" v="1967" actId="165"/>
          <ac:spMkLst>
            <pc:docMk/>
            <pc:sldMk cId="3811477011" sldId="1728"/>
            <ac:spMk id="52" creationId="{1D6D0D53-9D4A-B0EA-5D96-6A5604FA4A9F}"/>
          </ac:spMkLst>
        </pc:spChg>
        <pc:spChg chg="add mod">
          <ac:chgData name="Darius Kuddo" userId="da7555aa-d650-4d73-b00b-d01e713f1329" providerId="ADAL" clId="{9A4B509C-EEE7-485A-994E-5919214B754D}" dt="2025-02-20T01:38:51.563" v="1966"/>
          <ac:spMkLst>
            <pc:docMk/>
            <pc:sldMk cId="3811477011" sldId="1728"/>
            <ac:spMk id="53" creationId="{2040BC57-7BEA-AE46-E142-202A1F0E99C6}"/>
          </ac:spMkLst>
        </pc:spChg>
        <pc:spChg chg="add mod">
          <ac:chgData name="Darius Kuddo" userId="da7555aa-d650-4d73-b00b-d01e713f1329" providerId="ADAL" clId="{9A4B509C-EEE7-485A-994E-5919214B754D}" dt="2025-02-20T01:38:51.563" v="1966"/>
          <ac:spMkLst>
            <pc:docMk/>
            <pc:sldMk cId="3811477011" sldId="1728"/>
            <ac:spMk id="54" creationId="{23F47992-8C5D-FC42-1468-F60CB55576BF}"/>
          </ac:spMkLst>
        </pc:spChg>
        <pc:spChg chg="mod topLvl">
          <ac:chgData name="Darius Kuddo" userId="da7555aa-d650-4d73-b00b-d01e713f1329" providerId="ADAL" clId="{9A4B509C-EEE7-485A-994E-5919214B754D}" dt="2025-02-20T01:38:55.451" v="1967" actId="165"/>
          <ac:spMkLst>
            <pc:docMk/>
            <pc:sldMk cId="3811477011" sldId="1728"/>
            <ac:spMk id="59" creationId="{398C1911-BBA1-336D-D1CB-AC3F4FEF1EDC}"/>
          </ac:spMkLst>
        </pc:spChg>
        <pc:spChg chg="mod topLvl">
          <ac:chgData name="Darius Kuddo" userId="da7555aa-d650-4d73-b00b-d01e713f1329" providerId="ADAL" clId="{9A4B509C-EEE7-485A-994E-5919214B754D}" dt="2025-02-20T01:38:55.451" v="1967" actId="165"/>
          <ac:spMkLst>
            <pc:docMk/>
            <pc:sldMk cId="3811477011" sldId="1728"/>
            <ac:spMk id="60" creationId="{003707EE-9B6C-8AB0-43F5-10F0CE075F5B}"/>
          </ac:spMkLst>
        </pc:spChg>
        <pc:spChg chg="mod topLvl">
          <ac:chgData name="Darius Kuddo" userId="da7555aa-d650-4d73-b00b-d01e713f1329" providerId="ADAL" clId="{9A4B509C-EEE7-485A-994E-5919214B754D}" dt="2025-02-20T01:38:55.451" v="1967" actId="165"/>
          <ac:spMkLst>
            <pc:docMk/>
            <pc:sldMk cId="3811477011" sldId="1728"/>
            <ac:spMk id="61" creationId="{DE672DE8-D20F-2CA4-7E2D-7EB7AAF2A1D3}"/>
          </ac:spMkLst>
        </pc:spChg>
        <pc:spChg chg="add mod">
          <ac:chgData name="Darius Kuddo" userId="da7555aa-d650-4d73-b00b-d01e713f1329" providerId="ADAL" clId="{9A4B509C-EEE7-485A-994E-5919214B754D}" dt="2025-02-20T01:38:51.563" v="1966"/>
          <ac:spMkLst>
            <pc:docMk/>
            <pc:sldMk cId="3811477011" sldId="1728"/>
            <ac:spMk id="62" creationId="{C855CE1D-E85A-E7C3-723F-4583D97CB12F}"/>
          </ac:spMkLst>
        </pc:spChg>
        <pc:spChg chg="add mod">
          <ac:chgData name="Darius Kuddo" userId="da7555aa-d650-4d73-b00b-d01e713f1329" providerId="ADAL" clId="{9A4B509C-EEE7-485A-994E-5919214B754D}" dt="2025-02-20T01:38:51.563" v="1966"/>
          <ac:spMkLst>
            <pc:docMk/>
            <pc:sldMk cId="3811477011" sldId="1728"/>
            <ac:spMk id="63" creationId="{A8E5ADD4-4F82-4A44-CF0F-706084154EEC}"/>
          </ac:spMkLst>
        </pc:spChg>
        <pc:spChg chg="mod topLvl">
          <ac:chgData name="Darius Kuddo" userId="da7555aa-d650-4d73-b00b-d01e713f1329" providerId="ADAL" clId="{9A4B509C-EEE7-485A-994E-5919214B754D}" dt="2025-02-20T01:38:55.451" v="1967" actId="165"/>
          <ac:spMkLst>
            <pc:docMk/>
            <pc:sldMk cId="3811477011" sldId="1728"/>
            <ac:spMk id="64" creationId="{049BB737-420E-A767-9EA8-81264095DAA3}"/>
          </ac:spMkLst>
        </pc:spChg>
        <pc:spChg chg="mod topLvl">
          <ac:chgData name="Darius Kuddo" userId="da7555aa-d650-4d73-b00b-d01e713f1329" providerId="ADAL" clId="{9A4B509C-EEE7-485A-994E-5919214B754D}" dt="2025-02-20T01:38:55.451" v="1967" actId="165"/>
          <ac:spMkLst>
            <pc:docMk/>
            <pc:sldMk cId="3811477011" sldId="1728"/>
            <ac:spMk id="65" creationId="{0D33B5FB-F824-BFF8-D32C-6468A46E2B38}"/>
          </ac:spMkLst>
        </pc:spChg>
        <pc:spChg chg="mod topLvl">
          <ac:chgData name="Darius Kuddo" userId="da7555aa-d650-4d73-b00b-d01e713f1329" providerId="ADAL" clId="{9A4B509C-EEE7-485A-994E-5919214B754D}" dt="2025-02-20T01:38:55.451" v="1967" actId="165"/>
          <ac:spMkLst>
            <pc:docMk/>
            <pc:sldMk cId="3811477011" sldId="1728"/>
            <ac:spMk id="66" creationId="{14D70CA0-FAC1-61E5-735B-3CFEA94E524D}"/>
          </ac:spMkLst>
        </pc:spChg>
        <pc:spChg chg="del mod topLvl">
          <ac:chgData name="Darius Kuddo" userId="da7555aa-d650-4d73-b00b-d01e713f1329" providerId="ADAL" clId="{9A4B509C-EEE7-485A-994E-5919214B754D}" dt="2025-02-20T01:38:51.224" v="1965" actId="478"/>
          <ac:spMkLst>
            <pc:docMk/>
            <pc:sldMk cId="3811477011" sldId="1728"/>
            <ac:spMk id="68" creationId="{9E3841ED-9F00-9F1C-8494-D80BC04EAD8F}"/>
          </ac:spMkLst>
        </pc:spChg>
        <pc:spChg chg="mod topLvl">
          <ac:chgData name="Darius Kuddo" userId="da7555aa-d650-4d73-b00b-d01e713f1329" providerId="ADAL" clId="{9A4B509C-EEE7-485A-994E-5919214B754D}" dt="2025-02-20T01:38:55.451" v="1967" actId="165"/>
          <ac:spMkLst>
            <pc:docMk/>
            <pc:sldMk cId="3811477011" sldId="1728"/>
            <ac:spMk id="72" creationId="{02EED5C1-7F20-03ED-ACA9-CF330A11BCEE}"/>
          </ac:spMkLst>
        </pc:spChg>
        <pc:spChg chg="del mod topLvl">
          <ac:chgData name="Darius Kuddo" userId="da7555aa-d650-4d73-b00b-d01e713f1329" providerId="ADAL" clId="{9A4B509C-EEE7-485A-994E-5919214B754D}" dt="2025-02-20T01:38:51.224" v="1965" actId="478"/>
          <ac:spMkLst>
            <pc:docMk/>
            <pc:sldMk cId="3811477011" sldId="1728"/>
            <ac:spMk id="74" creationId="{8B95D1F9-36FE-6661-D561-1689F86B75B5}"/>
          </ac:spMkLst>
        </pc:spChg>
        <pc:spChg chg="mod topLvl">
          <ac:chgData name="Darius Kuddo" userId="da7555aa-d650-4d73-b00b-d01e713f1329" providerId="ADAL" clId="{9A4B509C-EEE7-485A-994E-5919214B754D}" dt="2025-02-20T01:38:59.841" v="1968" actId="165"/>
          <ac:spMkLst>
            <pc:docMk/>
            <pc:sldMk cId="3811477011" sldId="1728"/>
            <ac:spMk id="76" creationId="{7A7FDC7E-33E6-DE4D-061E-586A70F2D8BA}"/>
          </ac:spMkLst>
        </pc:spChg>
        <pc:spChg chg="mod topLvl">
          <ac:chgData name="Darius Kuddo" userId="da7555aa-d650-4d73-b00b-d01e713f1329" providerId="ADAL" clId="{9A4B509C-EEE7-485A-994E-5919214B754D}" dt="2025-02-20T01:38:59.841" v="1968" actId="165"/>
          <ac:spMkLst>
            <pc:docMk/>
            <pc:sldMk cId="3811477011" sldId="1728"/>
            <ac:spMk id="77" creationId="{67B22A59-1CD1-4CD9-008F-478CDA11303A}"/>
          </ac:spMkLst>
        </pc:spChg>
        <pc:spChg chg="mod topLvl">
          <ac:chgData name="Darius Kuddo" userId="da7555aa-d650-4d73-b00b-d01e713f1329" providerId="ADAL" clId="{9A4B509C-EEE7-485A-994E-5919214B754D}" dt="2025-02-20T01:38:59.841" v="1968" actId="165"/>
          <ac:spMkLst>
            <pc:docMk/>
            <pc:sldMk cId="3811477011" sldId="1728"/>
            <ac:spMk id="78" creationId="{65DC41F8-5F3F-570A-FA05-15BBD9D5B0CD}"/>
          </ac:spMkLst>
        </pc:spChg>
        <pc:spChg chg="mod topLvl">
          <ac:chgData name="Darius Kuddo" userId="da7555aa-d650-4d73-b00b-d01e713f1329" providerId="ADAL" clId="{9A4B509C-EEE7-485A-994E-5919214B754D}" dt="2025-02-20T01:38:59.841" v="1968" actId="165"/>
          <ac:spMkLst>
            <pc:docMk/>
            <pc:sldMk cId="3811477011" sldId="1728"/>
            <ac:spMk id="79" creationId="{0110DFF9-33E2-3064-45DE-B9DE1A8C20FE}"/>
          </ac:spMkLst>
        </pc:spChg>
        <pc:spChg chg="add mod">
          <ac:chgData name="Darius Kuddo" userId="da7555aa-d650-4d73-b00b-d01e713f1329" providerId="ADAL" clId="{9A4B509C-EEE7-485A-994E-5919214B754D}" dt="2025-02-20T01:38:51.563" v="1966"/>
          <ac:spMkLst>
            <pc:docMk/>
            <pc:sldMk cId="3811477011" sldId="1728"/>
            <ac:spMk id="81" creationId="{DF10E6E7-2BE9-890A-2A83-B459DDD30314}"/>
          </ac:spMkLst>
        </pc:spChg>
        <pc:spChg chg="add mod">
          <ac:chgData name="Darius Kuddo" userId="da7555aa-d650-4d73-b00b-d01e713f1329" providerId="ADAL" clId="{9A4B509C-EEE7-485A-994E-5919214B754D}" dt="2025-02-20T01:38:51.563" v="1966"/>
          <ac:spMkLst>
            <pc:docMk/>
            <pc:sldMk cId="3811477011" sldId="1728"/>
            <ac:spMk id="82" creationId="{B0544F31-BC2D-DD39-D0C7-8231D88E07CB}"/>
          </ac:spMkLst>
        </pc:spChg>
        <pc:spChg chg="add mod">
          <ac:chgData name="Darius Kuddo" userId="da7555aa-d650-4d73-b00b-d01e713f1329" providerId="ADAL" clId="{9A4B509C-EEE7-485A-994E-5919214B754D}" dt="2025-02-20T01:38:51.563" v="1966"/>
          <ac:spMkLst>
            <pc:docMk/>
            <pc:sldMk cId="3811477011" sldId="1728"/>
            <ac:spMk id="83" creationId="{84A5BACA-2F1F-90DE-5E2F-64B6E0DC611F}"/>
          </ac:spMkLst>
        </pc:spChg>
        <pc:spChg chg="add mod">
          <ac:chgData name="Darius Kuddo" userId="da7555aa-d650-4d73-b00b-d01e713f1329" providerId="ADAL" clId="{9A4B509C-EEE7-485A-994E-5919214B754D}" dt="2025-02-20T01:38:51.563" v="1966"/>
          <ac:spMkLst>
            <pc:docMk/>
            <pc:sldMk cId="3811477011" sldId="1728"/>
            <ac:spMk id="84" creationId="{8D8CD55B-469E-5DD8-3A4C-0342E739D858}"/>
          </ac:spMkLst>
        </pc:spChg>
        <pc:spChg chg="add mod">
          <ac:chgData name="Darius Kuddo" userId="da7555aa-d650-4d73-b00b-d01e713f1329" providerId="ADAL" clId="{9A4B509C-EEE7-485A-994E-5919214B754D}" dt="2025-02-20T01:38:51.563" v="1966"/>
          <ac:spMkLst>
            <pc:docMk/>
            <pc:sldMk cId="3811477011" sldId="1728"/>
            <ac:spMk id="85" creationId="{E033587F-3E43-2714-EFF2-402A256D6B1A}"/>
          </ac:spMkLst>
        </pc:spChg>
        <pc:spChg chg="add mod">
          <ac:chgData name="Darius Kuddo" userId="da7555aa-d650-4d73-b00b-d01e713f1329" providerId="ADAL" clId="{9A4B509C-EEE7-485A-994E-5919214B754D}" dt="2025-02-20T01:38:51.563" v="1966"/>
          <ac:spMkLst>
            <pc:docMk/>
            <pc:sldMk cId="3811477011" sldId="1728"/>
            <ac:spMk id="86" creationId="{05EFB965-9BD7-4037-8C77-7C2A5A2CCAA7}"/>
          </ac:spMkLst>
        </pc:spChg>
        <pc:spChg chg="add mod">
          <ac:chgData name="Darius Kuddo" userId="da7555aa-d650-4d73-b00b-d01e713f1329" providerId="ADAL" clId="{9A4B509C-EEE7-485A-994E-5919214B754D}" dt="2025-02-20T01:38:51.563" v="1966"/>
          <ac:spMkLst>
            <pc:docMk/>
            <pc:sldMk cId="3811477011" sldId="1728"/>
            <ac:spMk id="87" creationId="{19440F6D-1E29-F340-BB4B-CA5DC4370254}"/>
          </ac:spMkLst>
        </pc:spChg>
        <pc:spChg chg="del">
          <ac:chgData name="Darius Kuddo" userId="da7555aa-d650-4d73-b00b-d01e713f1329" providerId="ADAL" clId="{9A4B509C-EEE7-485A-994E-5919214B754D}" dt="2025-02-20T01:38:51.224" v="1965" actId="478"/>
          <ac:spMkLst>
            <pc:docMk/>
            <pc:sldMk cId="3811477011" sldId="1728"/>
            <ac:spMk id="89" creationId="{D7B2597C-1677-D4C0-3BF9-B171CF10231E}"/>
          </ac:spMkLst>
        </pc:spChg>
        <pc:spChg chg="del">
          <ac:chgData name="Darius Kuddo" userId="da7555aa-d650-4d73-b00b-d01e713f1329" providerId="ADAL" clId="{9A4B509C-EEE7-485A-994E-5919214B754D}" dt="2025-02-20T01:38:51.224" v="1965" actId="478"/>
          <ac:spMkLst>
            <pc:docMk/>
            <pc:sldMk cId="3811477011" sldId="1728"/>
            <ac:spMk id="90" creationId="{8C93DFA2-CE9B-3F86-39BF-4F2F8D451BBB}"/>
          </ac:spMkLst>
        </pc:spChg>
        <pc:spChg chg="mod topLvl">
          <ac:chgData name="Darius Kuddo" userId="da7555aa-d650-4d73-b00b-d01e713f1329" providerId="ADAL" clId="{9A4B509C-EEE7-485A-994E-5919214B754D}" dt="2025-02-20T01:38:55.451" v="1967" actId="165"/>
          <ac:spMkLst>
            <pc:docMk/>
            <pc:sldMk cId="3811477011" sldId="1728"/>
            <ac:spMk id="97" creationId="{440EC13D-74BD-078B-A2AF-67B63599CDDD}"/>
          </ac:spMkLst>
        </pc:spChg>
        <pc:spChg chg="del mod topLvl">
          <ac:chgData name="Darius Kuddo" userId="da7555aa-d650-4d73-b00b-d01e713f1329" providerId="ADAL" clId="{9A4B509C-EEE7-485A-994E-5919214B754D}" dt="2025-02-20T01:38:51.224" v="1965" actId="478"/>
          <ac:spMkLst>
            <pc:docMk/>
            <pc:sldMk cId="3811477011" sldId="1728"/>
            <ac:spMk id="98" creationId="{E7FCFF58-FBC9-2EB9-B004-85B81EEDCF17}"/>
          </ac:spMkLst>
        </pc:spChg>
        <pc:spChg chg="mod topLvl">
          <ac:chgData name="Darius Kuddo" userId="da7555aa-d650-4d73-b00b-d01e713f1329" providerId="ADAL" clId="{9A4B509C-EEE7-485A-994E-5919214B754D}" dt="2025-02-20T01:38:55.451" v="1967" actId="165"/>
          <ac:spMkLst>
            <pc:docMk/>
            <pc:sldMk cId="3811477011" sldId="1728"/>
            <ac:spMk id="99" creationId="{743B97E6-5108-3A74-93DF-6C8A52AB3CAD}"/>
          </ac:spMkLst>
        </pc:spChg>
        <pc:spChg chg="mod topLvl">
          <ac:chgData name="Darius Kuddo" userId="da7555aa-d650-4d73-b00b-d01e713f1329" providerId="ADAL" clId="{9A4B509C-EEE7-485A-994E-5919214B754D}" dt="2025-02-20T01:38:55.451" v="1967" actId="165"/>
          <ac:spMkLst>
            <pc:docMk/>
            <pc:sldMk cId="3811477011" sldId="1728"/>
            <ac:spMk id="100" creationId="{43F725D7-5AAC-A37E-3E64-4F4285A96B05}"/>
          </ac:spMkLst>
        </pc:spChg>
        <pc:spChg chg="mod topLvl">
          <ac:chgData name="Darius Kuddo" userId="da7555aa-d650-4d73-b00b-d01e713f1329" providerId="ADAL" clId="{9A4B509C-EEE7-485A-994E-5919214B754D}" dt="2025-02-20T01:38:55.451" v="1967" actId="165"/>
          <ac:spMkLst>
            <pc:docMk/>
            <pc:sldMk cId="3811477011" sldId="1728"/>
            <ac:spMk id="106" creationId="{37C65AA4-AB24-913F-82E6-D73D88763B06}"/>
          </ac:spMkLst>
        </pc:spChg>
        <pc:spChg chg="mod topLvl">
          <ac:chgData name="Darius Kuddo" userId="da7555aa-d650-4d73-b00b-d01e713f1329" providerId="ADAL" clId="{9A4B509C-EEE7-485A-994E-5919214B754D}" dt="2025-02-20T01:38:59.841" v="1968" actId="165"/>
          <ac:spMkLst>
            <pc:docMk/>
            <pc:sldMk cId="3811477011" sldId="1728"/>
            <ac:spMk id="110" creationId="{C635E782-7690-1CAD-49BE-86FCE51CA091}"/>
          </ac:spMkLst>
        </pc:spChg>
        <pc:spChg chg="mod topLvl">
          <ac:chgData name="Darius Kuddo" userId="da7555aa-d650-4d73-b00b-d01e713f1329" providerId="ADAL" clId="{9A4B509C-EEE7-485A-994E-5919214B754D}" dt="2025-02-20T01:39:02.951" v="1969" actId="165"/>
          <ac:spMkLst>
            <pc:docMk/>
            <pc:sldMk cId="3811477011" sldId="1728"/>
            <ac:spMk id="111" creationId="{65531507-748F-126C-37CD-AAE1C7DD6348}"/>
          </ac:spMkLst>
        </pc:spChg>
        <pc:spChg chg="mod topLvl">
          <ac:chgData name="Darius Kuddo" userId="da7555aa-d650-4d73-b00b-d01e713f1329" providerId="ADAL" clId="{9A4B509C-EEE7-485A-994E-5919214B754D}" dt="2025-02-20T01:39:02.951" v="1969" actId="165"/>
          <ac:spMkLst>
            <pc:docMk/>
            <pc:sldMk cId="3811477011" sldId="1728"/>
            <ac:spMk id="112" creationId="{98B5C23F-4973-2D70-AC40-A44D99FA042E}"/>
          </ac:spMkLst>
        </pc:spChg>
        <pc:spChg chg="mod topLvl">
          <ac:chgData name="Darius Kuddo" userId="da7555aa-d650-4d73-b00b-d01e713f1329" providerId="ADAL" clId="{9A4B509C-EEE7-485A-994E-5919214B754D}" dt="2025-02-20T01:39:02.951" v="1969" actId="165"/>
          <ac:spMkLst>
            <pc:docMk/>
            <pc:sldMk cId="3811477011" sldId="1728"/>
            <ac:spMk id="113" creationId="{914B3140-76CF-FF8A-8FE2-07DACF6F8317}"/>
          </ac:spMkLst>
        </pc:spChg>
        <pc:spChg chg="del mod topLvl">
          <ac:chgData name="Darius Kuddo" userId="da7555aa-d650-4d73-b00b-d01e713f1329" providerId="ADAL" clId="{9A4B509C-EEE7-485A-994E-5919214B754D}" dt="2025-02-20T01:38:51.224" v="1965" actId="478"/>
          <ac:spMkLst>
            <pc:docMk/>
            <pc:sldMk cId="3811477011" sldId="1728"/>
            <ac:spMk id="115" creationId="{EDC86BDD-2C79-41BA-6AF1-1A8D9E8EEE59}"/>
          </ac:spMkLst>
        </pc:spChg>
        <pc:spChg chg="add mod">
          <ac:chgData name="Darius Kuddo" userId="da7555aa-d650-4d73-b00b-d01e713f1329" providerId="ADAL" clId="{9A4B509C-EEE7-485A-994E-5919214B754D}" dt="2025-02-20T01:38:51.563" v="1966"/>
          <ac:spMkLst>
            <pc:docMk/>
            <pc:sldMk cId="3811477011" sldId="1728"/>
            <ac:spMk id="118" creationId="{45444D6A-1DBF-920A-8189-341B0D6122C2}"/>
          </ac:spMkLst>
        </pc:spChg>
        <pc:spChg chg="add mod">
          <ac:chgData name="Darius Kuddo" userId="da7555aa-d650-4d73-b00b-d01e713f1329" providerId="ADAL" clId="{9A4B509C-EEE7-485A-994E-5919214B754D}" dt="2025-02-20T01:38:51.563" v="1966"/>
          <ac:spMkLst>
            <pc:docMk/>
            <pc:sldMk cId="3811477011" sldId="1728"/>
            <ac:spMk id="119" creationId="{3C0497C8-ADF9-C0BA-3E18-603156366418}"/>
          </ac:spMkLst>
        </pc:spChg>
        <pc:spChg chg="add mod">
          <ac:chgData name="Darius Kuddo" userId="da7555aa-d650-4d73-b00b-d01e713f1329" providerId="ADAL" clId="{9A4B509C-EEE7-485A-994E-5919214B754D}" dt="2025-02-20T01:38:51.563" v="1966"/>
          <ac:spMkLst>
            <pc:docMk/>
            <pc:sldMk cId="3811477011" sldId="1728"/>
            <ac:spMk id="120" creationId="{0D506111-ED6A-1FFC-B187-696BEBC82F90}"/>
          </ac:spMkLst>
        </pc:spChg>
        <pc:spChg chg="del mod topLvl">
          <ac:chgData name="Darius Kuddo" userId="da7555aa-d650-4d73-b00b-d01e713f1329" providerId="ADAL" clId="{9A4B509C-EEE7-485A-994E-5919214B754D}" dt="2025-02-20T01:38:51.224" v="1965" actId="478"/>
          <ac:spMkLst>
            <pc:docMk/>
            <pc:sldMk cId="3811477011" sldId="1728"/>
            <ac:spMk id="121" creationId="{A35EC187-92BA-636F-0760-6820C7FCB532}"/>
          </ac:spMkLst>
        </pc:spChg>
        <pc:spChg chg="mod topLvl">
          <ac:chgData name="Darius Kuddo" userId="da7555aa-d650-4d73-b00b-d01e713f1329" providerId="ADAL" clId="{9A4B509C-EEE7-485A-994E-5919214B754D}" dt="2025-02-20T01:38:55.451" v="1967" actId="165"/>
          <ac:spMkLst>
            <pc:docMk/>
            <pc:sldMk cId="3811477011" sldId="1728"/>
            <ac:spMk id="125" creationId="{B8CFDFF7-A042-606F-35A5-6323E87E9824}"/>
          </ac:spMkLst>
        </pc:spChg>
        <pc:spChg chg="mod topLvl">
          <ac:chgData name="Darius Kuddo" userId="da7555aa-d650-4d73-b00b-d01e713f1329" providerId="ADAL" clId="{9A4B509C-EEE7-485A-994E-5919214B754D}" dt="2025-02-20T01:38:55.451" v="1967" actId="165"/>
          <ac:spMkLst>
            <pc:docMk/>
            <pc:sldMk cId="3811477011" sldId="1728"/>
            <ac:spMk id="126" creationId="{AA6C8EBE-D20A-C772-09BA-F48B45DC4C19}"/>
          </ac:spMkLst>
        </pc:spChg>
        <pc:spChg chg="mod topLvl">
          <ac:chgData name="Darius Kuddo" userId="da7555aa-d650-4d73-b00b-d01e713f1329" providerId="ADAL" clId="{9A4B509C-EEE7-485A-994E-5919214B754D}" dt="2025-02-20T01:38:55.451" v="1967" actId="165"/>
          <ac:spMkLst>
            <pc:docMk/>
            <pc:sldMk cId="3811477011" sldId="1728"/>
            <ac:spMk id="127" creationId="{A55BBEBC-3F3D-45C2-F345-FBFE370E33D2}"/>
          </ac:spMkLst>
        </pc:spChg>
        <pc:spChg chg="del">
          <ac:chgData name="Darius Kuddo" userId="da7555aa-d650-4d73-b00b-d01e713f1329" providerId="ADAL" clId="{9A4B509C-EEE7-485A-994E-5919214B754D}" dt="2025-02-20T01:38:51.224" v="1965" actId="478"/>
          <ac:spMkLst>
            <pc:docMk/>
            <pc:sldMk cId="3811477011" sldId="1728"/>
            <ac:spMk id="165" creationId="{E4A9D508-0A13-3C65-96D8-C3C21C70ACF4}"/>
          </ac:spMkLst>
        </pc:spChg>
        <pc:spChg chg="del">
          <ac:chgData name="Darius Kuddo" userId="da7555aa-d650-4d73-b00b-d01e713f1329" providerId="ADAL" clId="{9A4B509C-EEE7-485A-994E-5919214B754D}" dt="2025-02-20T01:38:51.224" v="1965" actId="478"/>
          <ac:spMkLst>
            <pc:docMk/>
            <pc:sldMk cId="3811477011" sldId="1728"/>
            <ac:spMk id="403" creationId="{F18C26AB-34AE-1DBF-6FF8-C38C87B6CF96}"/>
          </ac:spMkLst>
        </pc:spChg>
        <pc:spChg chg="del">
          <ac:chgData name="Darius Kuddo" userId="da7555aa-d650-4d73-b00b-d01e713f1329" providerId="ADAL" clId="{9A4B509C-EEE7-485A-994E-5919214B754D}" dt="2025-02-20T01:38:51.224" v="1965" actId="478"/>
          <ac:spMkLst>
            <pc:docMk/>
            <pc:sldMk cId="3811477011" sldId="1728"/>
            <ac:spMk id="404" creationId="{AA56C23F-E646-651F-D3E3-A3FA8A942960}"/>
          </ac:spMkLst>
        </pc:spChg>
        <pc:spChg chg="del">
          <ac:chgData name="Darius Kuddo" userId="da7555aa-d650-4d73-b00b-d01e713f1329" providerId="ADAL" clId="{9A4B509C-EEE7-485A-994E-5919214B754D}" dt="2025-02-20T01:38:51.224" v="1965" actId="478"/>
          <ac:spMkLst>
            <pc:docMk/>
            <pc:sldMk cId="3811477011" sldId="1728"/>
            <ac:spMk id="405" creationId="{03A402A7-3E2F-E82D-AB49-8FE17A301F47}"/>
          </ac:spMkLst>
        </pc:spChg>
        <pc:spChg chg="del">
          <ac:chgData name="Darius Kuddo" userId="da7555aa-d650-4d73-b00b-d01e713f1329" providerId="ADAL" clId="{9A4B509C-EEE7-485A-994E-5919214B754D}" dt="2025-02-20T01:38:51.224" v="1965" actId="478"/>
          <ac:spMkLst>
            <pc:docMk/>
            <pc:sldMk cId="3811477011" sldId="1728"/>
            <ac:spMk id="412" creationId="{D9B841A1-83A0-39A9-D911-43F70E6E3D36}"/>
          </ac:spMkLst>
        </pc:spChg>
        <pc:spChg chg="del">
          <ac:chgData name="Darius Kuddo" userId="da7555aa-d650-4d73-b00b-d01e713f1329" providerId="ADAL" clId="{9A4B509C-EEE7-485A-994E-5919214B754D}" dt="2025-02-20T01:38:51.224" v="1965" actId="478"/>
          <ac:spMkLst>
            <pc:docMk/>
            <pc:sldMk cId="3811477011" sldId="1728"/>
            <ac:spMk id="413" creationId="{4574CB5A-4D32-1880-3FD1-75FEAD6B0295}"/>
          </ac:spMkLst>
        </pc:spChg>
        <pc:spChg chg="del">
          <ac:chgData name="Darius Kuddo" userId="da7555aa-d650-4d73-b00b-d01e713f1329" providerId="ADAL" clId="{9A4B509C-EEE7-485A-994E-5919214B754D}" dt="2025-02-20T01:38:51.224" v="1965" actId="478"/>
          <ac:spMkLst>
            <pc:docMk/>
            <pc:sldMk cId="3811477011" sldId="1728"/>
            <ac:spMk id="414" creationId="{AD186811-24EA-5486-8153-36B2E48DF37C}"/>
          </ac:spMkLst>
        </pc:spChg>
        <pc:spChg chg="del mod topLvl">
          <ac:chgData name="Darius Kuddo" userId="da7555aa-d650-4d73-b00b-d01e713f1329" providerId="ADAL" clId="{9A4B509C-EEE7-485A-994E-5919214B754D}" dt="2025-02-20T01:38:51.224" v="1965" actId="478"/>
          <ac:spMkLst>
            <pc:docMk/>
            <pc:sldMk cId="3811477011" sldId="1728"/>
            <ac:spMk id="421" creationId="{1B71BB68-E1C7-26E5-C107-181711759CA6}"/>
          </ac:spMkLst>
        </pc:spChg>
        <pc:spChg chg="del mod topLvl">
          <ac:chgData name="Darius Kuddo" userId="da7555aa-d650-4d73-b00b-d01e713f1329" providerId="ADAL" clId="{9A4B509C-EEE7-485A-994E-5919214B754D}" dt="2025-02-20T01:38:51.224" v="1965" actId="478"/>
          <ac:spMkLst>
            <pc:docMk/>
            <pc:sldMk cId="3811477011" sldId="1728"/>
            <ac:spMk id="422" creationId="{A24125C7-4789-9348-37AD-6714C8208A9A}"/>
          </ac:spMkLst>
        </pc:spChg>
        <pc:spChg chg="del mod topLvl">
          <ac:chgData name="Darius Kuddo" userId="da7555aa-d650-4d73-b00b-d01e713f1329" providerId="ADAL" clId="{9A4B509C-EEE7-485A-994E-5919214B754D}" dt="2025-02-20T01:38:51.224" v="1965" actId="478"/>
          <ac:spMkLst>
            <pc:docMk/>
            <pc:sldMk cId="3811477011" sldId="1728"/>
            <ac:spMk id="423" creationId="{0C805797-0BB1-0555-C9F5-2D7472256110}"/>
          </ac:spMkLst>
        </pc:spChg>
        <pc:spChg chg="del">
          <ac:chgData name="Darius Kuddo" userId="da7555aa-d650-4d73-b00b-d01e713f1329" providerId="ADAL" clId="{9A4B509C-EEE7-485A-994E-5919214B754D}" dt="2025-02-20T01:38:51.224" v="1965" actId="478"/>
          <ac:spMkLst>
            <pc:docMk/>
            <pc:sldMk cId="3811477011" sldId="1728"/>
            <ac:spMk id="430" creationId="{5C456C3F-F6AE-3BD6-C37E-34EFB1C0E0DF}"/>
          </ac:spMkLst>
        </pc:spChg>
        <pc:spChg chg="del">
          <ac:chgData name="Darius Kuddo" userId="da7555aa-d650-4d73-b00b-d01e713f1329" providerId="ADAL" clId="{9A4B509C-EEE7-485A-994E-5919214B754D}" dt="2025-02-20T01:38:51.224" v="1965" actId="478"/>
          <ac:spMkLst>
            <pc:docMk/>
            <pc:sldMk cId="3811477011" sldId="1728"/>
            <ac:spMk id="431" creationId="{803D47BB-5E95-A269-E163-23877F585DDF}"/>
          </ac:spMkLst>
        </pc:spChg>
        <pc:spChg chg="del">
          <ac:chgData name="Darius Kuddo" userId="da7555aa-d650-4d73-b00b-d01e713f1329" providerId="ADAL" clId="{9A4B509C-EEE7-485A-994E-5919214B754D}" dt="2025-02-20T01:38:51.224" v="1965" actId="478"/>
          <ac:spMkLst>
            <pc:docMk/>
            <pc:sldMk cId="3811477011" sldId="1728"/>
            <ac:spMk id="432" creationId="{0DC20D80-F528-C369-F7B0-FAA7CBB0C0B4}"/>
          </ac:spMkLst>
        </pc:spChg>
        <pc:spChg chg="del">
          <ac:chgData name="Darius Kuddo" userId="da7555aa-d650-4d73-b00b-d01e713f1329" providerId="ADAL" clId="{9A4B509C-EEE7-485A-994E-5919214B754D}" dt="2025-02-20T01:38:51.224" v="1965" actId="478"/>
          <ac:spMkLst>
            <pc:docMk/>
            <pc:sldMk cId="3811477011" sldId="1728"/>
            <ac:spMk id="445" creationId="{DB2B2B13-4068-4D3C-A9C0-1F0A18C3A242}"/>
          </ac:spMkLst>
        </pc:spChg>
        <pc:spChg chg="del">
          <ac:chgData name="Darius Kuddo" userId="da7555aa-d650-4d73-b00b-d01e713f1329" providerId="ADAL" clId="{9A4B509C-EEE7-485A-994E-5919214B754D}" dt="2025-02-20T01:38:51.224" v="1965" actId="478"/>
          <ac:spMkLst>
            <pc:docMk/>
            <pc:sldMk cId="3811477011" sldId="1728"/>
            <ac:spMk id="446" creationId="{C0CBBD82-11F2-2518-A428-694A133A1EFB}"/>
          </ac:spMkLst>
        </pc:spChg>
        <pc:spChg chg="del">
          <ac:chgData name="Darius Kuddo" userId="da7555aa-d650-4d73-b00b-d01e713f1329" providerId="ADAL" clId="{9A4B509C-EEE7-485A-994E-5919214B754D}" dt="2025-02-20T01:38:51.224" v="1965" actId="478"/>
          <ac:spMkLst>
            <pc:docMk/>
            <pc:sldMk cId="3811477011" sldId="1728"/>
            <ac:spMk id="447" creationId="{43CF531C-F564-5026-9293-B8F6FF82ECEE}"/>
          </ac:spMkLst>
        </pc:spChg>
        <pc:spChg chg="mod topLvl">
          <ac:chgData name="Darius Kuddo" userId="da7555aa-d650-4d73-b00b-d01e713f1329" providerId="ADAL" clId="{9A4B509C-EEE7-485A-994E-5919214B754D}" dt="2025-02-20T01:38:55.451" v="1967" actId="165"/>
          <ac:spMkLst>
            <pc:docMk/>
            <pc:sldMk cId="3811477011" sldId="1728"/>
            <ac:spMk id="451" creationId="{F9A728C8-3A13-B7DE-36A9-D3FBD84289F4}"/>
          </ac:spMkLst>
        </pc:spChg>
        <pc:spChg chg="del mod topLvl">
          <ac:chgData name="Darius Kuddo" userId="da7555aa-d650-4d73-b00b-d01e713f1329" providerId="ADAL" clId="{9A4B509C-EEE7-485A-994E-5919214B754D}" dt="2025-02-20T01:38:51.224" v="1965" actId="478"/>
          <ac:spMkLst>
            <pc:docMk/>
            <pc:sldMk cId="3811477011" sldId="1728"/>
            <ac:spMk id="452" creationId="{7BDFD5CD-9ED3-61BB-7F24-9BAC8FEA7A8D}"/>
          </ac:spMkLst>
        </pc:spChg>
        <pc:spChg chg="del mod topLvl">
          <ac:chgData name="Darius Kuddo" userId="da7555aa-d650-4d73-b00b-d01e713f1329" providerId="ADAL" clId="{9A4B509C-EEE7-485A-994E-5919214B754D}" dt="2025-02-20T01:38:51.224" v="1965" actId="478"/>
          <ac:spMkLst>
            <pc:docMk/>
            <pc:sldMk cId="3811477011" sldId="1728"/>
            <ac:spMk id="453" creationId="{BCDE95DF-F27D-F5EE-B306-C90754D0A7ED}"/>
          </ac:spMkLst>
        </pc:spChg>
        <pc:spChg chg="del mod topLvl">
          <ac:chgData name="Darius Kuddo" userId="da7555aa-d650-4d73-b00b-d01e713f1329" providerId="ADAL" clId="{9A4B509C-EEE7-485A-994E-5919214B754D}" dt="2025-02-20T01:38:51.224" v="1965" actId="478"/>
          <ac:spMkLst>
            <pc:docMk/>
            <pc:sldMk cId="3811477011" sldId="1728"/>
            <ac:spMk id="454" creationId="{FB73FB32-F177-5B89-6E8E-BFC7A484331F}"/>
          </ac:spMkLst>
        </pc:spChg>
        <pc:spChg chg="del mod topLvl">
          <ac:chgData name="Darius Kuddo" userId="da7555aa-d650-4d73-b00b-d01e713f1329" providerId="ADAL" clId="{9A4B509C-EEE7-485A-994E-5919214B754D}" dt="2025-02-20T01:38:51.224" v="1965" actId="478"/>
          <ac:spMkLst>
            <pc:docMk/>
            <pc:sldMk cId="3811477011" sldId="1728"/>
            <ac:spMk id="455" creationId="{C90623C5-93AF-D2F2-76C1-7A2872F2A777}"/>
          </ac:spMkLst>
        </pc:spChg>
        <pc:spChg chg="mod topLvl">
          <ac:chgData name="Darius Kuddo" userId="da7555aa-d650-4d73-b00b-d01e713f1329" providerId="ADAL" clId="{9A4B509C-EEE7-485A-994E-5919214B754D}" dt="2025-02-20T01:38:55.451" v="1967" actId="165"/>
          <ac:spMkLst>
            <pc:docMk/>
            <pc:sldMk cId="3811477011" sldId="1728"/>
            <ac:spMk id="456" creationId="{A70B2B36-C51D-5986-E2B2-0A15D9348531}"/>
          </ac:spMkLst>
        </pc:spChg>
        <pc:spChg chg="mod topLvl">
          <ac:chgData name="Darius Kuddo" userId="da7555aa-d650-4d73-b00b-d01e713f1329" providerId="ADAL" clId="{9A4B509C-EEE7-485A-994E-5919214B754D}" dt="2025-02-20T01:38:55.451" v="1967" actId="165"/>
          <ac:spMkLst>
            <pc:docMk/>
            <pc:sldMk cId="3811477011" sldId="1728"/>
            <ac:spMk id="457" creationId="{F44F1346-B615-3D3C-F4F4-C7E04056FB6F}"/>
          </ac:spMkLst>
        </pc:spChg>
        <pc:spChg chg="mod topLvl">
          <ac:chgData name="Darius Kuddo" userId="da7555aa-d650-4d73-b00b-d01e713f1329" providerId="ADAL" clId="{9A4B509C-EEE7-485A-994E-5919214B754D}" dt="2025-02-20T01:38:55.451" v="1967" actId="165"/>
          <ac:spMkLst>
            <pc:docMk/>
            <pc:sldMk cId="3811477011" sldId="1728"/>
            <ac:spMk id="458" creationId="{0A90673D-E82D-08D3-E014-6531CE74CFB9}"/>
          </ac:spMkLst>
        </pc:spChg>
        <pc:spChg chg="del">
          <ac:chgData name="Darius Kuddo" userId="da7555aa-d650-4d73-b00b-d01e713f1329" providerId="ADAL" clId="{9A4B509C-EEE7-485A-994E-5919214B754D}" dt="2025-02-20T01:38:51.224" v="1965" actId="478"/>
          <ac:spMkLst>
            <pc:docMk/>
            <pc:sldMk cId="3811477011" sldId="1728"/>
            <ac:spMk id="461" creationId="{157DF465-4812-0AB5-2233-57C40E11AC1E}"/>
          </ac:spMkLst>
        </pc:spChg>
        <pc:spChg chg="del">
          <ac:chgData name="Darius Kuddo" userId="da7555aa-d650-4d73-b00b-d01e713f1329" providerId="ADAL" clId="{9A4B509C-EEE7-485A-994E-5919214B754D}" dt="2025-02-20T01:38:51.224" v="1965" actId="478"/>
          <ac:spMkLst>
            <pc:docMk/>
            <pc:sldMk cId="3811477011" sldId="1728"/>
            <ac:spMk id="462" creationId="{8B9B0F2D-92A9-F674-4EAE-CB8A25A8DBA7}"/>
          </ac:spMkLst>
        </pc:spChg>
        <pc:spChg chg="del">
          <ac:chgData name="Darius Kuddo" userId="da7555aa-d650-4d73-b00b-d01e713f1329" providerId="ADAL" clId="{9A4B509C-EEE7-485A-994E-5919214B754D}" dt="2025-02-20T01:38:51.224" v="1965" actId="478"/>
          <ac:spMkLst>
            <pc:docMk/>
            <pc:sldMk cId="3811477011" sldId="1728"/>
            <ac:spMk id="463" creationId="{D6E92B8B-A2A1-4C93-C0B9-5C1E29E7FDBF}"/>
          </ac:spMkLst>
        </pc:spChg>
        <pc:spChg chg="add mod">
          <ac:chgData name="Darius Kuddo" userId="da7555aa-d650-4d73-b00b-d01e713f1329" providerId="ADAL" clId="{9A4B509C-EEE7-485A-994E-5919214B754D}" dt="2025-02-20T01:38:51.563" v="1966"/>
          <ac:spMkLst>
            <pc:docMk/>
            <pc:sldMk cId="3811477011" sldId="1728"/>
            <ac:spMk id="464" creationId="{36F2F6AB-BE8B-7051-8093-89EA958B5F63}"/>
          </ac:spMkLst>
        </pc:spChg>
        <pc:spChg chg="add mod">
          <ac:chgData name="Darius Kuddo" userId="da7555aa-d650-4d73-b00b-d01e713f1329" providerId="ADAL" clId="{9A4B509C-EEE7-485A-994E-5919214B754D}" dt="2025-02-20T01:38:51.563" v="1966"/>
          <ac:spMkLst>
            <pc:docMk/>
            <pc:sldMk cId="3811477011" sldId="1728"/>
            <ac:spMk id="465" creationId="{CEEB9E3D-E2E5-CAF3-FCDE-43BDA9A2E233}"/>
          </ac:spMkLst>
        </pc:spChg>
        <pc:spChg chg="add mod">
          <ac:chgData name="Darius Kuddo" userId="da7555aa-d650-4d73-b00b-d01e713f1329" providerId="ADAL" clId="{9A4B509C-EEE7-485A-994E-5919214B754D}" dt="2025-02-20T01:38:51.563" v="1966"/>
          <ac:spMkLst>
            <pc:docMk/>
            <pc:sldMk cId="3811477011" sldId="1728"/>
            <ac:spMk id="466" creationId="{3EB5FFEB-EA48-CD98-2B50-E89C8FAA061E}"/>
          </ac:spMkLst>
        </pc:spChg>
        <pc:spChg chg="add mod">
          <ac:chgData name="Darius Kuddo" userId="da7555aa-d650-4d73-b00b-d01e713f1329" providerId="ADAL" clId="{9A4B509C-EEE7-485A-994E-5919214B754D}" dt="2025-02-20T01:38:51.563" v="1966"/>
          <ac:spMkLst>
            <pc:docMk/>
            <pc:sldMk cId="3811477011" sldId="1728"/>
            <ac:spMk id="467" creationId="{55CD66F3-6588-6C4B-C5EC-E3007C038993}"/>
          </ac:spMkLst>
        </pc:spChg>
        <pc:spChg chg="del">
          <ac:chgData name="Darius Kuddo" userId="da7555aa-d650-4d73-b00b-d01e713f1329" providerId="ADAL" clId="{9A4B509C-EEE7-485A-994E-5919214B754D}" dt="2025-02-20T01:38:51.224" v="1965" actId="478"/>
          <ac:spMkLst>
            <pc:docMk/>
            <pc:sldMk cId="3811477011" sldId="1728"/>
            <ac:spMk id="468" creationId="{25F8C0BC-4961-EAF4-01D7-E259D9432698}"/>
          </ac:spMkLst>
        </pc:spChg>
        <pc:spChg chg="del">
          <ac:chgData name="Darius Kuddo" userId="da7555aa-d650-4d73-b00b-d01e713f1329" providerId="ADAL" clId="{9A4B509C-EEE7-485A-994E-5919214B754D}" dt="2025-02-20T01:38:51.224" v="1965" actId="478"/>
          <ac:spMkLst>
            <pc:docMk/>
            <pc:sldMk cId="3811477011" sldId="1728"/>
            <ac:spMk id="469" creationId="{6803C554-E6C2-4754-7C56-81E3AB965D84}"/>
          </ac:spMkLst>
        </pc:spChg>
        <pc:spChg chg="del">
          <ac:chgData name="Darius Kuddo" userId="da7555aa-d650-4d73-b00b-d01e713f1329" providerId="ADAL" clId="{9A4B509C-EEE7-485A-994E-5919214B754D}" dt="2025-02-20T01:38:51.224" v="1965" actId="478"/>
          <ac:spMkLst>
            <pc:docMk/>
            <pc:sldMk cId="3811477011" sldId="1728"/>
            <ac:spMk id="470" creationId="{E738E9CF-A73F-09BF-A616-6DCA658BABCA}"/>
          </ac:spMkLst>
        </pc:spChg>
        <pc:spChg chg="del">
          <ac:chgData name="Darius Kuddo" userId="da7555aa-d650-4d73-b00b-d01e713f1329" providerId="ADAL" clId="{9A4B509C-EEE7-485A-994E-5919214B754D}" dt="2025-02-20T01:38:51.224" v="1965" actId="478"/>
          <ac:spMkLst>
            <pc:docMk/>
            <pc:sldMk cId="3811477011" sldId="1728"/>
            <ac:spMk id="471" creationId="{75350A81-531F-3DB5-A23B-E856B2BBA45C}"/>
          </ac:spMkLst>
        </pc:spChg>
        <pc:spChg chg="add mod">
          <ac:chgData name="Darius Kuddo" userId="da7555aa-d650-4d73-b00b-d01e713f1329" providerId="ADAL" clId="{9A4B509C-EEE7-485A-994E-5919214B754D}" dt="2025-02-20T01:38:51.563" v="1966"/>
          <ac:spMkLst>
            <pc:docMk/>
            <pc:sldMk cId="3811477011" sldId="1728"/>
            <ac:spMk id="472" creationId="{F797A7A2-4BA3-4916-82E8-9F4997BEB66A}"/>
          </ac:spMkLst>
        </pc:spChg>
        <pc:spChg chg="add mod">
          <ac:chgData name="Darius Kuddo" userId="da7555aa-d650-4d73-b00b-d01e713f1329" providerId="ADAL" clId="{9A4B509C-EEE7-485A-994E-5919214B754D}" dt="2025-02-20T01:38:51.563" v="1966"/>
          <ac:spMkLst>
            <pc:docMk/>
            <pc:sldMk cId="3811477011" sldId="1728"/>
            <ac:spMk id="473" creationId="{FE4BCE8C-582E-E3EE-BD9E-804708A0349E}"/>
          </ac:spMkLst>
        </pc:spChg>
        <pc:spChg chg="add mod">
          <ac:chgData name="Darius Kuddo" userId="da7555aa-d650-4d73-b00b-d01e713f1329" providerId="ADAL" clId="{9A4B509C-EEE7-485A-994E-5919214B754D}" dt="2025-02-20T01:38:51.563" v="1966"/>
          <ac:spMkLst>
            <pc:docMk/>
            <pc:sldMk cId="3811477011" sldId="1728"/>
            <ac:spMk id="474" creationId="{8E62E2C7-EBFA-172C-6B0D-F8E5F5A3810B}"/>
          </ac:spMkLst>
        </pc:spChg>
        <pc:spChg chg="add mod">
          <ac:chgData name="Darius Kuddo" userId="da7555aa-d650-4d73-b00b-d01e713f1329" providerId="ADAL" clId="{9A4B509C-EEE7-485A-994E-5919214B754D}" dt="2025-02-20T01:38:51.563" v="1966"/>
          <ac:spMkLst>
            <pc:docMk/>
            <pc:sldMk cId="3811477011" sldId="1728"/>
            <ac:spMk id="475" creationId="{B9C472E4-D799-BC36-A9E3-9B49B65E658B}"/>
          </ac:spMkLst>
        </pc:spChg>
        <pc:spChg chg="del">
          <ac:chgData name="Darius Kuddo" userId="da7555aa-d650-4d73-b00b-d01e713f1329" providerId="ADAL" clId="{9A4B509C-EEE7-485A-994E-5919214B754D}" dt="2025-02-20T01:38:51.224" v="1965" actId="478"/>
          <ac:spMkLst>
            <pc:docMk/>
            <pc:sldMk cId="3811477011" sldId="1728"/>
            <ac:spMk id="477" creationId="{D2930F8F-5846-C0DD-A474-288C8297E5CA}"/>
          </ac:spMkLst>
        </pc:spChg>
        <pc:spChg chg="del">
          <ac:chgData name="Darius Kuddo" userId="da7555aa-d650-4d73-b00b-d01e713f1329" providerId="ADAL" clId="{9A4B509C-EEE7-485A-994E-5919214B754D}" dt="2025-02-20T01:38:51.224" v="1965" actId="478"/>
          <ac:spMkLst>
            <pc:docMk/>
            <pc:sldMk cId="3811477011" sldId="1728"/>
            <ac:spMk id="478" creationId="{2254EF30-0634-DA82-A03F-D8145BBEA67C}"/>
          </ac:spMkLst>
        </pc:spChg>
        <pc:spChg chg="del">
          <ac:chgData name="Darius Kuddo" userId="da7555aa-d650-4d73-b00b-d01e713f1329" providerId="ADAL" clId="{9A4B509C-EEE7-485A-994E-5919214B754D}" dt="2025-02-20T01:38:51.224" v="1965" actId="478"/>
          <ac:spMkLst>
            <pc:docMk/>
            <pc:sldMk cId="3811477011" sldId="1728"/>
            <ac:spMk id="479" creationId="{45FFA63D-154F-0F81-720E-49D85BEB98D1}"/>
          </ac:spMkLst>
        </pc:spChg>
        <pc:spChg chg="mod topLvl">
          <ac:chgData name="Darius Kuddo" userId="da7555aa-d650-4d73-b00b-d01e713f1329" providerId="ADAL" clId="{9A4B509C-EEE7-485A-994E-5919214B754D}" dt="2025-02-20T01:38:55.451" v="1967" actId="165"/>
          <ac:spMkLst>
            <pc:docMk/>
            <pc:sldMk cId="3811477011" sldId="1728"/>
            <ac:spMk id="485" creationId="{4CE68366-964C-57E2-2F9D-7A1184D536BE}"/>
          </ac:spMkLst>
        </pc:spChg>
        <pc:spChg chg="mod topLvl">
          <ac:chgData name="Darius Kuddo" userId="da7555aa-d650-4d73-b00b-d01e713f1329" providerId="ADAL" clId="{9A4B509C-EEE7-485A-994E-5919214B754D}" dt="2025-02-20T01:38:55.451" v="1967" actId="165"/>
          <ac:spMkLst>
            <pc:docMk/>
            <pc:sldMk cId="3811477011" sldId="1728"/>
            <ac:spMk id="486" creationId="{8AE03C49-2A8D-1455-0880-07FFE6A96598}"/>
          </ac:spMkLst>
        </pc:spChg>
        <pc:spChg chg="mod topLvl">
          <ac:chgData name="Darius Kuddo" userId="da7555aa-d650-4d73-b00b-d01e713f1329" providerId="ADAL" clId="{9A4B509C-EEE7-485A-994E-5919214B754D}" dt="2025-02-20T01:38:55.451" v="1967" actId="165"/>
          <ac:spMkLst>
            <pc:docMk/>
            <pc:sldMk cId="3811477011" sldId="1728"/>
            <ac:spMk id="487" creationId="{0DAF0D8B-E330-F529-7112-7593ED6C3606}"/>
          </ac:spMkLst>
        </pc:spChg>
        <pc:spChg chg="mod topLvl">
          <ac:chgData name="Darius Kuddo" userId="da7555aa-d650-4d73-b00b-d01e713f1329" providerId="ADAL" clId="{9A4B509C-EEE7-485A-994E-5919214B754D}" dt="2025-02-20T01:38:55.451" v="1967" actId="165"/>
          <ac:spMkLst>
            <pc:docMk/>
            <pc:sldMk cId="3811477011" sldId="1728"/>
            <ac:spMk id="488" creationId="{82988DC5-3047-1878-1E34-1354CA7BEF76}"/>
          </ac:spMkLst>
        </pc:spChg>
        <pc:spChg chg="mod topLvl">
          <ac:chgData name="Darius Kuddo" userId="da7555aa-d650-4d73-b00b-d01e713f1329" providerId="ADAL" clId="{9A4B509C-EEE7-485A-994E-5919214B754D}" dt="2025-02-20T01:38:55.451" v="1967" actId="165"/>
          <ac:spMkLst>
            <pc:docMk/>
            <pc:sldMk cId="3811477011" sldId="1728"/>
            <ac:spMk id="489" creationId="{FF58DC3E-C68D-FDF2-8F88-7B3BCB9F598D}"/>
          </ac:spMkLst>
        </pc:spChg>
        <pc:spChg chg="mod topLvl">
          <ac:chgData name="Darius Kuddo" userId="da7555aa-d650-4d73-b00b-d01e713f1329" providerId="ADAL" clId="{9A4B509C-EEE7-485A-994E-5919214B754D}" dt="2025-02-20T01:38:55.451" v="1967" actId="165"/>
          <ac:spMkLst>
            <pc:docMk/>
            <pc:sldMk cId="3811477011" sldId="1728"/>
            <ac:spMk id="490" creationId="{8669D7A3-5063-AEE6-D0CD-25B37A036CF9}"/>
          </ac:spMkLst>
        </pc:spChg>
        <pc:spChg chg="del">
          <ac:chgData name="Darius Kuddo" userId="da7555aa-d650-4d73-b00b-d01e713f1329" providerId="ADAL" clId="{9A4B509C-EEE7-485A-994E-5919214B754D}" dt="2025-02-20T01:38:51.224" v="1965" actId="478"/>
          <ac:spMkLst>
            <pc:docMk/>
            <pc:sldMk cId="3811477011" sldId="1728"/>
            <ac:spMk id="491" creationId="{81CAD7F5-1647-5CA1-5AE3-9D38ACF0312B}"/>
          </ac:spMkLst>
        </pc:spChg>
        <pc:spChg chg="del">
          <ac:chgData name="Darius Kuddo" userId="da7555aa-d650-4d73-b00b-d01e713f1329" providerId="ADAL" clId="{9A4B509C-EEE7-485A-994E-5919214B754D}" dt="2025-02-20T01:38:51.224" v="1965" actId="478"/>
          <ac:spMkLst>
            <pc:docMk/>
            <pc:sldMk cId="3811477011" sldId="1728"/>
            <ac:spMk id="492" creationId="{F71DFFD6-5653-B05C-F207-CFFBFF59E40D}"/>
          </ac:spMkLst>
        </pc:spChg>
        <pc:spChg chg="del">
          <ac:chgData name="Darius Kuddo" userId="da7555aa-d650-4d73-b00b-d01e713f1329" providerId="ADAL" clId="{9A4B509C-EEE7-485A-994E-5919214B754D}" dt="2025-02-20T01:38:51.224" v="1965" actId="478"/>
          <ac:spMkLst>
            <pc:docMk/>
            <pc:sldMk cId="3811477011" sldId="1728"/>
            <ac:spMk id="493" creationId="{C8B94688-951A-00B3-21CC-F8668DE31FED}"/>
          </ac:spMkLst>
        </pc:spChg>
        <pc:spChg chg="add mod">
          <ac:chgData name="Darius Kuddo" userId="da7555aa-d650-4d73-b00b-d01e713f1329" providerId="ADAL" clId="{9A4B509C-EEE7-485A-994E-5919214B754D}" dt="2025-02-20T01:38:51.563" v="1966"/>
          <ac:spMkLst>
            <pc:docMk/>
            <pc:sldMk cId="3811477011" sldId="1728"/>
            <ac:spMk id="494" creationId="{AF4B5FDE-E62C-AF41-119C-002BEF258F30}"/>
          </ac:spMkLst>
        </pc:spChg>
        <pc:spChg chg="add mod">
          <ac:chgData name="Darius Kuddo" userId="da7555aa-d650-4d73-b00b-d01e713f1329" providerId="ADAL" clId="{9A4B509C-EEE7-485A-994E-5919214B754D}" dt="2025-02-20T01:38:51.563" v="1966"/>
          <ac:spMkLst>
            <pc:docMk/>
            <pc:sldMk cId="3811477011" sldId="1728"/>
            <ac:spMk id="495" creationId="{0AE3B42E-A2FC-A3D3-4CCA-07F79BBC4653}"/>
          </ac:spMkLst>
        </pc:spChg>
        <pc:spChg chg="add mod">
          <ac:chgData name="Darius Kuddo" userId="da7555aa-d650-4d73-b00b-d01e713f1329" providerId="ADAL" clId="{9A4B509C-EEE7-485A-994E-5919214B754D}" dt="2025-02-20T01:38:51.563" v="1966"/>
          <ac:spMkLst>
            <pc:docMk/>
            <pc:sldMk cId="3811477011" sldId="1728"/>
            <ac:spMk id="496" creationId="{F4A8425B-18CC-702E-D5C4-FB47ECCFA751}"/>
          </ac:spMkLst>
        </pc:spChg>
        <pc:spChg chg="add mod">
          <ac:chgData name="Darius Kuddo" userId="da7555aa-d650-4d73-b00b-d01e713f1329" providerId="ADAL" clId="{9A4B509C-EEE7-485A-994E-5919214B754D}" dt="2025-02-20T01:38:51.563" v="1966"/>
          <ac:spMkLst>
            <pc:docMk/>
            <pc:sldMk cId="3811477011" sldId="1728"/>
            <ac:spMk id="497" creationId="{27C1363F-BB44-8312-DC89-4B678A317963}"/>
          </ac:spMkLst>
        </pc:spChg>
        <pc:spChg chg="del mod topLvl">
          <ac:chgData name="Darius Kuddo" userId="da7555aa-d650-4d73-b00b-d01e713f1329" providerId="ADAL" clId="{9A4B509C-EEE7-485A-994E-5919214B754D}" dt="2025-02-20T01:38:51.224" v="1965" actId="478"/>
          <ac:spMkLst>
            <pc:docMk/>
            <pc:sldMk cId="3811477011" sldId="1728"/>
            <ac:spMk id="498" creationId="{3482B5CD-5257-BA0F-42A9-CC5D622697AE}"/>
          </ac:spMkLst>
        </pc:spChg>
        <pc:spChg chg="del mod topLvl">
          <ac:chgData name="Darius Kuddo" userId="da7555aa-d650-4d73-b00b-d01e713f1329" providerId="ADAL" clId="{9A4B509C-EEE7-485A-994E-5919214B754D}" dt="2025-02-20T01:38:51.224" v="1965" actId="478"/>
          <ac:spMkLst>
            <pc:docMk/>
            <pc:sldMk cId="3811477011" sldId="1728"/>
            <ac:spMk id="499" creationId="{38DC1851-8492-37EE-E699-3777F1CC202F}"/>
          </ac:spMkLst>
        </pc:spChg>
        <pc:spChg chg="del mod topLvl">
          <ac:chgData name="Darius Kuddo" userId="da7555aa-d650-4d73-b00b-d01e713f1329" providerId="ADAL" clId="{9A4B509C-EEE7-485A-994E-5919214B754D}" dt="2025-02-20T01:38:51.224" v="1965" actId="478"/>
          <ac:spMkLst>
            <pc:docMk/>
            <pc:sldMk cId="3811477011" sldId="1728"/>
            <ac:spMk id="500" creationId="{5EF90C1F-BA49-5A63-10DC-2C3B55F8A79B}"/>
          </ac:spMkLst>
        </pc:spChg>
        <pc:spChg chg="del mod topLvl">
          <ac:chgData name="Darius Kuddo" userId="da7555aa-d650-4d73-b00b-d01e713f1329" providerId="ADAL" clId="{9A4B509C-EEE7-485A-994E-5919214B754D}" dt="2025-02-20T01:38:51.224" v="1965" actId="478"/>
          <ac:spMkLst>
            <pc:docMk/>
            <pc:sldMk cId="3811477011" sldId="1728"/>
            <ac:spMk id="501" creationId="{9C1FF9EB-5D98-16F0-0E47-DD9CFFAAEA24}"/>
          </ac:spMkLst>
        </pc:spChg>
        <pc:spChg chg="del">
          <ac:chgData name="Darius Kuddo" userId="da7555aa-d650-4d73-b00b-d01e713f1329" providerId="ADAL" clId="{9A4B509C-EEE7-485A-994E-5919214B754D}" dt="2025-02-20T01:38:51.224" v="1965" actId="478"/>
          <ac:spMkLst>
            <pc:docMk/>
            <pc:sldMk cId="3811477011" sldId="1728"/>
            <ac:spMk id="506" creationId="{D6CC60D8-4A92-25FC-32C5-6421DD1777FC}"/>
          </ac:spMkLst>
        </pc:spChg>
        <pc:spChg chg="del">
          <ac:chgData name="Darius Kuddo" userId="da7555aa-d650-4d73-b00b-d01e713f1329" providerId="ADAL" clId="{9A4B509C-EEE7-485A-994E-5919214B754D}" dt="2025-02-20T01:38:51.224" v="1965" actId="478"/>
          <ac:spMkLst>
            <pc:docMk/>
            <pc:sldMk cId="3811477011" sldId="1728"/>
            <ac:spMk id="507" creationId="{00625081-5EA9-2F51-C90E-E4F04321B045}"/>
          </ac:spMkLst>
        </pc:spChg>
        <pc:spChg chg="del">
          <ac:chgData name="Darius Kuddo" userId="da7555aa-d650-4d73-b00b-d01e713f1329" providerId="ADAL" clId="{9A4B509C-EEE7-485A-994E-5919214B754D}" dt="2025-02-20T01:38:51.224" v="1965" actId="478"/>
          <ac:spMkLst>
            <pc:docMk/>
            <pc:sldMk cId="3811477011" sldId="1728"/>
            <ac:spMk id="508" creationId="{D540140C-3062-64B5-A427-64B3C4B7D572}"/>
          </ac:spMkLst>
        </pc:spChg>
        <pc:spChg chg="del">
          <ac:chgData name="Darius Kuddo" userId="da7555aa-d650-4d73-b00b-d01e713f1329" providerId="ADAL" clId="{9A4B509C-EEE7-485A-994E-5919214B754D}" dt="2025-02-20T01:38:51.224" v="1965" actId="478"/>
          <ac:spMkLst>
            <pc:docMk/>
            <pc:sldMk cId="3811477011" sldId="1728"/>
            <ac:spMk id="509" creationId="{21B83382-3B9D-AC22-CE6F-CDB470367A85}"/>
          </ac:spMkLst>
        </pc:spChg>
        <pc:spChg chg="mod topLvl">
          <ac:chgData name="Darius Kuddo" userId="da7555aa-d650-4d73-b00b-d01e713f1329" providerId="ADAL" clId="{9A4B509C-EEE7-485A-994E-5919214B754D}" dt="2025-02-20T01:38:55.451" v="1967" actId="165"/>
          <ac:spMkLst>
            <pc:docMk/>
            <pc:sldMk cId="3811477011" sldId="1728"/>
            <ac:spMk id="511" creationId="{A6EC25F8-6346-E688-D231-157FFFC1A41B}"/>
          </ac:spMkLst>
        </pc:spChg>
        <pc:spChg chg="mod topLvl">
          <ac:chgData name="Darius Kuddo" userId="da7555aa-d650-4d73-b00b-d01e713f1329" providerId="ADAL" clId="{9A4B509C-EEE7-485A-994E-5919214B754D}" dt="2025-02-20T01:38:55.451" v="1967" actId="165"/>
          <ac:spMkLst>
            <pc:docMk/>
            <pc:sldMk cId="3811477011" sldId="1728"/>
            <ac:spMk id="512" creationId="{76A7122F-D512-F52A-6FD6-C43AA961C733}"/>
          </ac:spMkLst>
        </pc:spChg>
        <pc:spChg chg="mod topLvl">
          <ac:chgData name="Darius Kuddo" userId="da7555aa-d650-4d73-b00b-d01e713f1329" providerId="ADAL" clId="{9A4B509C-EEE7-485A-994E-5919214B754D}" dt="2025-02-20T01:38:55.451" v="1967" actId="165"/>
          <ac:spMkLst>
            <pc:docMk/>
            <pc:sldMk cId="3811477011" sldId="1728"/>
            <ac:spMk id="513" creationId="{AD953510-6490-A60C-7B6B-88DD74754FB2}"/>
          </ac:spMkLst>
        </pc:spChg>
        <pc:spChg chg="del">
          <ac:chgData name="Darius Kuddo" userId="da7555aa-d650-4d73-b00b-d01e713f1329" providerId="ADAL" clId="{9A4B509C-EEE7-485A-994E-5919214B754D}" dt="2025-02-20T01:38:51.224" v="1965" actId="478"/>
          <ac:spMkLst>
            <pc:docMk/>
            <pc:sldMk cId="3811477011" sldId="1728"/>
            <ac:spMk id="514" creationId="{332293A7-8B7A-27D2-B1D4-5E4B662D0A01}"/>
          </ac:spMkLst>
        </pc:spChg>
        <pc:spChg chg="del">
          <ac:chgData name="Darius Kuddo" userId="da7555aa-d650-4d73-b00b-d01e713f1329" providerId="ADAL" clId="{9A4B509C-EEE7-485A-994E-5919214B754D}" dt="2025-02-20T01:38:51.224" v="1965" actId="478"/>
          <ac:spMkLst>
            <pc:docMk/>
            <pc:sldMk cId="3811477011" sldId="1728"/>
            <ac:spMk id="515" creationId="{E0D08B65-415B-91F7-FDD0-89C531971C80}"/>
          </ac:spMkLst>
        </pc:spChg>
        <pc:spChg chg="del">
          <ac:chgData name="Darius Kuddo" userId="da7555aa-d650-4d73-b00b-d01e713f1329" providerId="ADAL" clId="{9A4B509C-EEE7-485A-994E-5919214B754D}" dt="2025-02-20T01:38:51.224" v="1965" actId="478"/>
          <ac:spMkLst>
            <pc:docMk/>
            <pc:sldMk cId="3811477011" sldId="1728"/>
            <ac:spMk id="516" creationId="{C3E4BAD3-A8E0-A7C1-569A-9AE39E1450A7}"/>
          </ac:spMkLst>
        </pc:spChg>
        <pc:spChg chg="del">
          <ac:chgData name="Darius Kuddo" userId="da7555aa-d650-4d73-b00b-d01e713f1329" providerId="ADAL" clId="{9A4B509C-EEE7-485A-994E-5919214B754D}" dt="2025-02-20T01:38:51.224" v="1965" actId="478"/>
          <ac:spMkLst>
            <pc:docMk/>
            <pc:sldMk cId="3811477011" sldId="1728"/>
            <ac:spMk id="517" creationId="{DCE6E445-96B9-92F2-E687-83156BC7962D}"/>
          </ac:spMkLst>
        </pc:spChg>
        <pc:spChg chg="add mod">
          <ac:chgData name="Darius Kuddo" userId="da7555aa-d650-4d73-b00b-d01e713f1329" providerId="ADAL" clId="{9A4B509C-EEE7-485A-994E-5919214B754D}" dt="2025-02-20T01:38:51.563" v="1966"/>
          <ac:spMkLst>
            <pc:docMk/>
            <pc:sldMk cId="3811477011" sldId="1728"/>
            <ac:spMk id="518" creationId="{42DFC75F-C821-1516-F9E4-AAF414D0C5C1}"/>
          </ac:spMkLst>
        </pc:spChg>
        <pc:spChg chg="add mod">
          <ac:chgData name="Darius Kuddo" userId="da7555aa-d650-4d73-b00b-d01e713f1329" providerId="ADAL" clId="{9A4B509C-EEE7-485A-994E-5919214B754D}" dt="2025-02-20T01:38:51.563" v="1966"/>
          <ac:spMkLst>
            <pc:docMk/>
            <pc:sldMk cId="3811477011" sldId="1728"/>
            <ac:spMk id="519" creationId="{578050AD-B066-22B1-5887-65E3ED4D103F}"/>
          </ac:spMkLst>
        </pc:spChg>
        <pc:spChg chg="add mod">
          <ac:chgData name="Darius Kuddo" userId="da7555aa-d650-4d73-b00b-d01e713f1329" providerId="ADAL" clId="{9A4B509C-EEE7-485A-994E-5919214B754D}" dt="2025-02-20T01:38:51.563" v="1966"/>
          <ac:spMkLst>
            <pc:docMk/>
            <pc:sldMk cId="3811477011" sldId="1728"/>
            <ac:spMk id="520" creationId="{0EFDD92E-D523-F408-0739-97293EE4364F}"/>
          </ac:spMkLst>
        </pc:spChg>
        <pc:spChg chg="add mod">
          <ac:chgData name="Darius Kuddo" userId="da7555aa-d650-4d73-b00b-d01e713f1329" providerId="ADAL" clId="{9A4B509C-EEE7-485A-994E-5919214B754D}" dt="2025-02-20T01:38:51.563" v="1966"/>
          <ac:spMkLst>
            <pc:docMk/>
            <pc:sldMk cId="3811477011" sldId="1728"/>
            <ac:spMk id="521" creationId="{9E28E247-DC27-BFA0-0025-83F72E8B1A71}"/>
          </ac:spMkLst>
        </pc:spChg>
        <pc:spChg chg="add mod">
          <ac:chgData name="Darius Kuddo" userId="da7555aa-d650-4d73-b00b-d01e713f1329" providerId="ADAL" clId="{9A4B509C-EEE7-485A-994E-5919214B754D}" dt="2025-02-20T01:38:51.563" v="1966"/>
          <ac:spMkLst>
            <pc:docMk/>
            <pc:sldMk cId="3811477011" sldId="1728"/>
            <ac:spMk id="522" creationId="{8F2E4E9C-6B1D-1C37-16E0-6DF294460F87}"/>
          </ac:spMkLst>
        </pc:spChg>
        <pc:spChg chg="del">
          <ac:chgData name="Darius Kuddo" userId="da7555aa-d650-4d73-b00b-d01e713f1329" providerId="ADAL" clId="{9A4B509C-EEE7-485A-994E-5919214B754D}" dt="2025-02-20T01:38:51.224" v="1965" actId="478"/>
          <ac:spMkLst>
            <pc:docMk/>
            <pc:sldMk cId="3811477011" sldId="1728"/>
            <ac:spMk id="523" creationId="{CBD9D806-4FF1-AD6F-C24C-D0DE24973D94}"/>
          </ac:spMkLst>
        </pc:spChg>
        <pc:spChg chg="del">
          <ac:chgData name="Darius Kuddo" userId="da7555aa-d650-4d73-b00b-d01e713f1329" providerId="ADAL" clId="{9A4B509C-EEE7-485A-994E-5919214B754D}" dt="2025-02-20T01:38:51.224" v="1965" actId="478"/>
          <ac:spMkLst>
            <pc:docMk/>
            <pc:sldMk cId="3811477011" sldId="1728"/>
            <ac:spMk id="524" creationId="{756ADED4-6E32-E910-83FD-BDE7D7B916E0}"/>
          </ac:spMkLst>
        </pc:spChg>
        <pc:spChg chg="del">
          <ac:chgData name="Darius Kuddo" userId="da7555aa-d650-4d73-b00b-d01e713f1329" providerId="ADAL" clId="{9A4B509C-EEE7-485A-994E-5919214B754D}" dt="2025-02-20T01:38:51.224" v="1965" actId="478"/>
          <ac:spMkLst>
            <pc:docMk/>
            <pc:sldMk cId="3811477011" sldId="1728"/>
            <ac:spMk id="525" creationId="{E50FA3DF-F658-D0C7-B807-FFC5A1C0E243}"/>
          </ac:spMkLst>
        </pc:spChg>
        <pc:spChg chg="del mod topLvl">
          <ac:chgData name="Darius Kuddo" userId="da7555aa-d650-4d73-b00b-d01e713f1329" providerId="ADAL" clId="{9A4B509C-EEE7-485A-994E-5919214B754D}" dt="2025-02-20T01:38:51.224" v="1965" actId="478"/>
          <ac:spMkLst>
            <pc:docMk/>
            <pc:sldMk cId="3811477011" sldId="1728"/>
            <ac:spMk id="526" creationId="{AC8DD9A5-1E4C-AF43-7B85-9F29BC087B58}"/>
          </ac:spMkLst>
        </pc:spChg>
        <pc:spChg chg="del mod topLvl">
          <ac:chgData name="Darius Kuddo" userId="da7555aa-d650-4d73-b00b-d01e713f1329" providerId="ADAL" clId="{9A4B509C-EEE7-485A-994E-5919214B754D}" dt="2025-02-20T01:38:51.224" v="1965" actId="478"/>
          <ac:spMkLst>
            <pc:docMk/>
            <pc:sldMk cId="3811477011" sldId="1728"/>
            <ac:spMk id="527" creationId="{E02EA775-3767-6574-FEC0-1AD788E8F670}"/>
          </ac:spMkLst>
        </pc:spChg>
        <pc:spChg chg="del">
          <ac:chgData name="Darius Kuddo" userId="da7555aa-d650-4d73-b00b-d01e713f1329" providerId="ADAL" clId="{9A4B509C-EEE7-485A-994E-5919214B754D}" dt="2025-02-20T01:38:51.224" v="1965" actId="478"/>
          <ac:spMkLst>
            <pc:docMk/>
            <pc:sldMk cId="3811477011" sldId="1728"/>
            <ac:spMk id="528" creationId="{5096BADF-A049-5696-3FBF-78A6FABE46AF}"/>
          </ac:spMkLst>
        </pc:spChg>
        <pc:spChg chg="del">
          <ac:chgData name="Darius Kuddo" userId="da7555aa-d650-4d73-b00b-d01e713f1329" providerId="ADAL" clId="{9A4B509C-EEE7-485A-994E-5919214B754D}" dt="2025-02-20T01:38:51.224" v="1965" actId="478"/>
          <ac:spMkLst>
            <pc:docMk/>
            <pc:sldMk cId="3811477011" sldId="1728"/>
            <ac:spMk id="529" creationId="{A9BAD22C-D28F-F395-C2A9-B4983E088ABD}"/>
          </ac:spMkLst>
        </pc:spChg>
        <pc:spChg chg="del">
          <ac:chgData name="Darius Kuddo" userId="da7555aa-d650-4d73-b00b-d01e713f1329" providerId="ADAL" clId="{9A4B509C-EEE7-485A-994E-5919214B754D}" dt="2025-02-20T01:38:51.224" v="1965" actId="478"/>
          <ac:spMkLst>
            <pc:docMk/>
            <pc:sldMk cId="3811477011" sldId="1728"/>
            <ac:spMk id="530" creationId="{C6C55A86-5D21-3114-EE77-3A1836E56A35}"/>
          </ac:spMkLst>
        </pc:spChg>
        <pc:spChg chg="del">
          <ac:chgData name="Darius Kuddo" userId="da7555aa-d650-4d73-b00b-d01e713f1329" providerId="ADAL" clId="{9A4B509C-EEE7-485A-994E-5919214B754D}" dt="2025-02-20T01:38:51.224" v="1965" actId="478"/>
          <ac:spMkLst>
            <pc:docMk/>
            <pc:sldMk cId="3811477011" sldId="1728"/>
            <ac:spMk id="531" creationId="{9C1A0255-F288-56F8-0AB6-7A03C34C4250}"/>
          </ac:spMkLst>
        </pc:spChg>
        <pc:spChg chg="mod topLvl">
          <ac:chgData name="Darius Kuddo" userId="da7555aa-d650-4d73-b00b-d01e713f1329" providerId="ADAL" clId="{9A4B509C-EEE7-485A-994E-5919214B754D}" dt="2025-02-20T01:38:55.451" v="1967" actId="165"/>
          <ac:spMkLst>
            <pc:docMk/>
            <pc:sldMk cId="3811477011" sldId="1728"/>
            <ac:spMk id="537" creationId="{54B5CBAD-F217-A312-7EFB-BEC5C95AE359}"/>
          </ac:spMkLst>
        </pc:spChg>
        <pc:spChg chg="mod topLvl">
          <ac:chgData name="Darius Kuddo" userId="da7555aa-d650-4d73-b00b-d01e713f1329" providerId="ADAL" clId="{9A4B509C-EEE7-485A-994E-5919214B754D}" dt="2025-02-20T01:38:55.451" v="1967" actId="165"/>
          <ac:spMkLst>
            <pc:docMk/>
            <pc:sldMk cId="3811477011" sldId="1728"/>
            <ac:spMk id="538" creationId="{B709FAA4-A3CA-73CA-0605-32E564A1D291}"/>
          </ac:spMkLst>
        </pc:spChg>
        <pc:spChg chg="mod topLvl">
          <ac:chgData name="Darius Kuddo" userId="da7555aa-d650-4d73-b00b-d01e713f1329" providerId="ADAL" clId="{9A4B509C-EEE7-485A-994E-5919214B754D}" dt="2025-02-20T01:38:55.451" v="1967" actId="165"/>
          <ac:spMkLst>
            <pc:docMk/>
            <pc:sldMk cId="3811477011" sldId="1728"/>
            <ac:spMk id="539" creationId="{92EC64DF-6490-D5D6-E901-DFD7704C1F64}"/>
          </ac:spMkLst>
        </pc:spChg>
        <pc:spChg chg="mod topLvl">
          <ac:chgData name="Darius Kuddo" userId="da7555aa-d650-4d73-b00b-d01e713f1329" providerId="ADAL" clId="{9A4B509C-EEE7-485A-994E-5919214B754D}" dt="2025-02-20T01:38:55.451" v="1967" actId="165"/>
          <ac:spMkLst>
            <pc:docMk/>
            <pc:sldMk cId="3811477011" sldId="1728"/>
            <ac:spMk id="540" creationId="{11C6FB13-E08E-F105-332C-F5DF9630F4A2}"/>
          </ac:spMkLst>
        </pc:spChg>
        <pc:spChg chg="mod topLvl">
          <ac:chgData name="Darius Kuddo" userId="da7555aa-d650-4d73-b00b-d01e713f1329" providerId="ADAL" clId="{9A4B509C-EEE7-485A-994E-5919214B754D}" dt="2025-02-20T01:38:55.451" v="1967" actId="165"/>
          <ac:spMkLst>
            <pc:docMk/>
            <pc:sldMk cId="3811477011" sldId="1728"/>
            <ac:spMk id="541" creationId="{27736226-BE16-7AF9-2CF6-8B2A79707569}"/>
          </ac:spMkLst>
        </pc:spChg>
        <pc:spChg chg="mod topLvl">
          <ac:chgData name="Darius Kuddo" userId="da7555aa-d650-4d73-b00b-d01e713f1329" providerId="ADAL" clId="{9A4B509C-EEE7-485A-994E-5919214B754D}" dt="2025-02-20T01:38:55.451" v="1967" actId="165"/>
          <ac:spMkLst>
            <pc:docMk/>
            <pc:sldMk cId="3811477011" sldId="1728"/>
            <ac:spMk id="545" creationId="{A178FA28-725A-E0D6-25DD-E2FC3748B052}"/>
          </ac:spMkLst>
        </pc:spChg>
        <pc:spChg chg="mod topLvl">
          <ac:chgData name="Darius Kuddo" userId="da7555aa-d650-4d73-b00b-d01e713f1329" providerId="ADAL" clId="{9A4B509C-EEE7-485A-994E-5919214B754D}" dt="2025-02-20T01:38:55.451" v="1967" actId="165"/>
          <ac:spMkLst>
            <pc:docMk/>
            <pc:sldMk cId="3811477011" sldId="1728"/>
            <ac:spMk id="546" creationId="{E7BF618F-8556-D02C-6570-D6275F6A871F}"/>
          </ac:spMkLst>
        </pc:spChg>
        <pc:spChg chg="mod topLvl">
          <ac:chgData name="Darius Kuddo" userId="da7555aa-d650-4d73-b00b-d01e713f1329" providerId="ADAL" clId="{9A4B509C-EEE7-485A-994E-5919214B754D}" dt="2025-02-20T01:38:55.451" v="1967" actId="165"/>
          <ac:spMkLst>
            <pc:docMk/>
            <pc:sldMk cId="3811477011" sldId="1728"/>
            <ac:spMk id="547" creationId="{54D67C30-6174-F372-F813-D1A1590AB671}"/>
          </ac:spMkLst>
        </pc:spChg>
        <pc:spChg chg="del mod topLvl">
          <ac:chgData name="Darius Kuddo" userId="da7555aa-d650-4d73-b00b-d01e713f1329" providerId="ADAL" clId="{9A4B509C-EEE7-485A-994E-5919214B754D}" dt="2025-02-20T01:38:51.224" v="1965" actId="478"/>
          <ac:spMkLst>
            <pc:docMk/>
            <pc:sldMk cId="3811477011" sldId="1728"/>
            <ac:spMk id="560" creationId="{34E2BB15-20BE-C580-A4F0-687ABB72CB44}"/>
          </ac:spMkLst>
        </pc:spChg>
        <pc:spChg chg="del mod topLvl">
          <ac:chgData name="Darius Kuddo" userId="da7555aa-d650-4d73-b00b-d01e713f1329" providerId="ADAL" clId="{9A4B509C-EEE7-485A-994E-5919214B754D}" dt="2025-02-20T01:38:51.224" v="1965" actId="478"/>
          <ac:spMkLst>
            <pc:docMk/>
            <pc:sldMk cId="3811477011" sldId="1728"/>
            <ac:spMk id="561" creationId="{C739BE43-A9AA-1193-A3BD-AFAFA806F439}"/>
          </ac:spMkLst>
        </pc:spChg>
        <pc:spChg chg="del mod topLvl">
          <ac:chgData name="Darius Kuddo" userId="da7555aa-d650-4d73-b00b-d01e713f1329" providerId="ADAL" clId="{9A4B509C-EEE7-485A-994E-5919214B754D}" dt="2025-02-20T01:38:51.224" v="1965" actId="478"/>
          <ac:spMkLst>
            <pc:docMk/>
            <pc:sldMk cId="3811477011" sldId="1728"/>
            <ac:spMk id="562" creationId="{60947B88-7C55-A586-CE04-14B9ACA2048C}"/>
          </ac:spMkLst>
        </pc:spChg>
        <pc:spChg chg="del mod topLvl">
          <ac:chgData name="Darius Kuddo" userId="da7555aa-d650-4d73-b00b-d01e713f1329" providerId="ADAL" clId="{9A4B509C-EEE7-485A-994E-5919214B754D}" dt="2025-02-20T01:38:51.224" v="1965" actId="478"/>
          <ac:spMkLst>
            <pc:docMk/>
            <pc:sldMk cId="3811477011" sldId="1728"/>
            <ac:spMk id="563" creationId="{1D9606E1-6A44-ABC7-0273-F36F4EC62D05}"/>
          </ac:spMkLst>
        </pc:spChg>
        <pc:spChg chg="del mod topLvl">
          <ac:chgData name="Darius Kuddo" userId="da7555aa-d650-4d73-b00b-d01e713f1329" providerId="ADAL" clId="{9A4B509C-EEE7-485A-994E-5919214B754D}" dt="2025-02-20T01:38:51.224" v="1965" actId="478"/>
          <ac:spMkLst>
            <pc:docMk/>
            <pc:sldMk cId="3811477011" sldId="1728"/>
            <ac:spMk id="569" creationId="{22294339-38C6-682C-EFC9-0386DD697F67}"/>
          </ac:spMkLst>
        </pc:spChg>
        <pc:spChg chg="del mod topLvl">
          <ac:chgData name="Darius Kuddo" userId="da7555aa-d650-4d73-b00b-d01e713f1329" providerId="ADAL" clId="{9A4B509C-EEE7-485A-994E-5919214B754D}" dt="2025-02-20T01:38:51.224" v="1965" actId="478"/>
          <ac:spMkLst>
            <pc:docMk/>
            <pc:sldMk cId="3811477011" sldId="1728"/>
            <ac:spMk id="570" creationId="{0A800FDE-30A0-C7A3-6AA7-113AB50873ED}"/>
          </ac:spMkLst>
        </pc:spChg>
        <pc:spChg chg="del mod topLvl">
          <ac:chgData name="Darius Kuddo" userId="da7555aa-d650-4d73-b00b-d01e713f1329" providerId="ADAL" clId="{9A4B509C-EEE7-485A-994E-5919214B754D}" dt="2025-02-20T01:38:51.224" v="1965" actId="478"/>
          <ac:spMkLst>
            <pc:docMk/>
            <pc:sldMk cId="3811477011" sldId="1728"/>
            <ac:spMk id="571" creationId="{F985971F-9890-EDA5-CBDE-26CA2CA23A17}"/>
          </ac:spMkLst>
        </pc:spChg>
        <pc:spChg chg="del mod topLvl">
          <ac:chgData name="Darius Kuddo" userId="da7555aa-d650-4d73-b00b-d01e713f1329" providerId="ADAL" clId="{9A4B509C-EEE7-485A-994E-5919214B754D}" dt="2025-02-20T01:38:51.224" v="1965" actId="478"/>
          <ac:spMkLst>
            <pc:docMk/>
            <pc:sldMk cId="3811477011" sldId="1728"/>
            <ac:spMk id="1024" creationId="{324FB4ED-A660-C30A-2F7E-6045A343C822}"/>
          </ac:spMkLst>
        </pc:spChg>
        <pc:grpChg chg="del">
          <ac:chgData name="Darius Kuddo" userId="da7555aa-d650-4d73-b00b-d01e713f1329" providerId="ADAL" clId="{9A4B509C-EEE7-485A-994E-5919214B754D}" dt="2025-02-20T01:37:19.356" v="1964" actId="165"/>
          <ac:grpSpMkLst>
            <pc:docMk/>
            <pc:sldMk cId="3811477011" sldId="1728"/>
            <ac:grpSpMk id="11" creationId="{B672766F-44C7-DE53-4C3F-1437B23F733B}"/>
          </ac:grpSpMkLst>
        </pc:grpChg>
        <pc:grpChg chg="del">
          <ac:chgData name="Darius Kuddo" userId="da7555aa-d650-4d73-b00b-d01e713f1329" providerId="ADAL" clId="{9A4B509C-EEE7-485A-994E-5919214B754D}" dt="2025-02-20T01:37:19.356" v="1964" actId="165"/>
          <ac:grpSpMkLst>
            <pc:docMk/>
            <pc:sldMk cId="3811477011" sldId="1728"/>
            <ac:grpSpMk id="12" creationId="{F8EBCAB8-1E16-9992-DC6C-98632F5AB676}"/>
          </ac:grpSpMkLst>
        </pc:grpChg>
        <pc:grpChg chg="del">
          <ac:chgData name="Darius Kuddo" userId="da7555aa-d650-4d73-b00b-d01e713f1329" providerId="ADAL" clId="{9A4B509C-EEE7-485A-994E-5919214B754D}" dt="2025-02-20T01:37:19.356" v="1964" actId="165"/>
          <ac:grpSpMkLst>
            <pc:docMk/>
            <pc:sldMk cId="3811477011" sldId="1728"/>
            <ac:grpSpMk id="13" creationId="{B30C5ECC-B1B2-4CAA-33C1-7F3DCC48DBEC}"/>
          </ac:grpSpMkLst>
        </pc:grpChg>
        <pc:grpChg chg="add del mod">
          <ac:chgData name="Darius Kuddo" userId="da7555aa-d650-4d73-b00b-d01e713f1329" providerId="ADAL" clId="{9A4B509C-EEE7-485A-994E-5919214B754D}" dt="2025-02-20T01:38:55.451" v="1967" actId="165"/>
          <ac:grpSpMkLst>
            <pc:docMk/>
            <pc:sldMk cId="3811477011" sldId="1728"/>
            <ac:grpSpMk id="14" creationId="{CEB583C0-8011-1D4E-62A8-1C83BE406195}"/>
          </ac:grpSpMkLst>
        </pc:grpChg>
        <pc:grpChg chg="add del mod">
          <ac:chgData name="Darius Kuddo" userId="da7555aa-d650-4d73-b00b-d01e713f1329" providerId="ADAL" clId="{9A4B509C-EEE7-485A-994E-5919214B754D}" dt="2025-02-20T01:38:55.451" v="1967" actId="165"/>
          <ac:grpSpMkLst>
            <pc:docMk/>
            <pc:sldMk cId="3811477011" sldId="1728"/>
            <ac:grpSpMk id="40" creationId="{BE19C591-5DBB-4769-A8E0-40F17D17E517}"/>
          </ac:grpSpMkLst>
        </pc:grpChg>
        <pc:grpChg chg="add del mod">
          <ac:chgData name="Darius Kuddo" userId="da7555aa-d650-4d73-b00b-d01e713f1329" providerId="ADAL" clId="{9A4B509C-EEE7-485A-994E-5919214B754D}" dt="2025-02-20T01:38:55.451" v="1967" actId="165"/>
          <ac:grpSpMkLst>
            <pc:docMk/>
            <pc:sldMk cId="3811477011" sldId="1728"/>
            <ac:grpSpMk id="55" creationId="{01A87A42-B8FD-2E92-52F0-B0A70F730DF9}"/>
          </ac:grpSpMkLst>
        </pc:grpChg>
        <pc:grpChg chg="add del mod">
          <ac:chgData name="Darius Kuddo" userId="da7555aa-d650-4d73-b00b-d01e713f1329" providerId="ADAL" clId="{9A4B509C-EEE7-485A-994E-5919214B754D}" dt="2025-02-20T01:38:55.451" v="1967" actId="165"/>
          <ac:grpSpMkLst>
            <pc:docMk/>
            <pc:sldMk cId="3811477011" sldId="1728"/>
            <ac:grpSpMk id="70" creationId="{E7E8765E-A81F-4B27-7926-DA34D8C1CBA2}"/>
          </ac:grpSpMkLst>
        </pc:grpChg>
        <pc:grpChg chg="del mod topLvl">
          <ac:chgData name="Darius Kuddo" userId="da7555aa-d650-4d73-b00b-d01e713f1329" providerId="ADAL" clId="{9A4B509C-EEE7-485A-994E-5919214B754D}" dt="2025-02-20T01:38:59.841" v="1968" actId="165"/>
          <ac:grpSpMkLst>
            <pc:docMk/>
            <pc:sldMk cId="3811477011" sldId="1728"/>
            <ac:grpSpMk id="71" creationId="{E96F5715-87D9-82E3-5B8B-9E6DD2F5B130}"/>
          </ac:grpSpMkLst>
        </pc:grpChg>
        <pc:grpChg chg="add del mod">
          <ac:chgData name="Darius Kuddo" userId="da7555aa-d650-4d73-b00b-d01e713f1329" providerId="ADAL" clId="{9A4B509C-EEE7-485A-994E-5919214B754D}" dt="2025-02-20T01:38:55.451" v="1967" actId="165"/>
          <ac:grpSpMkLst>
            <pc:docMk/>
            <pc:sldMk cId="3811477011" sldId="1728"/>
            <ac:grpSpMk id="96" creationId="{EE5DB185-5099-0410-EBDA-8B0E9DA80C64}"/>
          </ac:grpSpMkLst>
        </pc:grpChg>
        <pc:grpChg chg="del mod topLvl">
          <ac:chgData name="Darius Kuddo" userId="da7555aa-d650-4d73-b00b-d01e713f1329" providerId="ADAL" clId="{9A4B509C-EEE7-485A-994E-5919214B754D}" dt="2025-02-20T01:38:59.841" v="1968" actId="165"/>
          <ac:grpSpMkLst>
            <pc:docMk/>
            <pc:sldMk cId="3811477011" sldId="1728"/>
            <ac:grpSpMk id="105" creationId="{010D08DC-8C82-88CE-EC18-DD596E5F72BD}"/>
          </ac:grpSpMkLst>
        </pc:grpChg>
        <pc:grpChg chg="del mod topLvl">
          <ac:chgData name="Darius Kuddo" userId="da7555aa-d650-4d73-b00b-d01e713f1329" providerId="ADAL" clId="{9A4B509C-EEE7-485A-994E-5919214B754D}" dt="2025-02-20T01:39:02.951" v="1969" actId="165"/>
          <ac:grpSpMkLst>
            <pc:docMk/>
            <pc:sldMk cId="3811477011" sldId="1728"/>
            <ac:grpSpMk id="107" creationId="{6F4668F1-BB0D-6E40-7DF7-9C03D8412A86}"/>
          </ac:grpSpMkLst>
        </pc:grpChg>
        <pc:grpChg chg="add del mod">
          <ac:chgData name="Darius Kuddo" userId="da7555aa-d650-4d73-b00b-d01e713f1329" providerId="ADAL" clId="{9A4B509C-EEE7-485A-994E-5919214B754D}" dt="2025-02-20T01:38:55.451" v="1967" actId="165"/>
          <ac:grpSpMkLst>
            <pc:docMk/>
            <pc:sldMk cId="3811477011" sldId="1728"/>
            <ac:grpSpMk id="123" creationId="{FF9A11D4-E71B-C9FF-EB26-580CD56156DE}"/>
          </ac:grpSpMkLst>
        </pc:grpChg>
        <pc:grpChg chg="add del mod">
          <ac:chgData name="Darius Kuddo" userId="da7555aa-d650-4d73-b00b-d01e713f1329" providerId="ADAL" clId="{9A4B509C-EEE7-485A-994E-5919214B754D}" dt="2025-02-20T01:38:55.451" v="1967" actId="165"/>
          <ac:grpSpMkLst>
            <pc:docMk/>
            <pc:sldMk cId="3811477011" sldId="1728"/>
            <ac:grpSpMk id="448" creationId="{795CB0C8-7F32-83D2-ED30-8659DCD11506}"/>
          </ac:grpSpMkLst>
        </pc:grpChg>
        <pc:grpChg chg="add del mod">
          <ac:chgData name="Darius Kuddo" userId="da7555aa-d650-4d73-b00b-d01e713f1329" providerId="ADAL" clId="{9A4B509C-EEE7-485A-994E-5919214B754D}" dt="2025-02-20T01:38:55.451" v="1967" actId="165"/>
          <ac:grpSpMkLst>
            <pc:docMk/>
            <pc:sldMk cId="3811477011" sldId="1728"/>
            <ac:grpSpMk id="483" creationId="{213719B4-56D1-2357-0B9E-9256E488A7C8}"/>
          </ac:grpSpMkLst>
        </pc:grpChg>
        <pc:grpChg chg="add del mod">
          <ac:chgData name="Darius Kuddo" userId="da7555aa-d650-4d73-b00b-d01e713f1329" providerId="ADAL" clId="{9A4B509C-EEE7-485A-994E-5919214B754D}" dt="2025-02-20T01:38:55.451" v="1967" actId="165"/>
          <ac:grpSpMkLst>
            <pc:docMk/>
            <pc:sldMk cId="3811477011" sldId="1728"/>
            <ac:grpSpMk id="510" creationId="{BBC0616B-4A6E-097F-6AA6-9D2E95C9697E}"/>
          </ac:grpSpMkLst>
        </pc:grpChg>
        <pc:grpChg chg="add del mod">
          <ac:chgData name="Darius Kuddo" userId="da7555aa-d650-4d73-b00b-d01e713f1329" providerId="ADAL" clId="{9A4B509C-EEE7-485A-994E-5919214B754D}" dt="2025-02-20T01:38:55.451" v="1967" actId="165"/>
          <ac:grpSpMkLst>
            <pc:docMk/>
            <pc:sldMk cId="3811477011" sldId="1728"/>
            <ac:grpSpMk id="532" creationId="{14FF50F8-2ACB-211F-3F9D-7511156F8650}"/>
          </ac:grpSpMkLst>
        </pc:grpChg>
        <pc:grpChg chg="add del mod">
          <ac:chgData name="Darius Kuddo" userId="da7555aa-d650-4d73-b00b-d01e713f1329" providerId="ADAL" clId="{9A4B509C-EEE7-485A-994E-5919214B754D}" dt="2025-02-20T01:38:55.451" v="1967" actId="165"/>
          <ac:grpSpMkLst>
            <pc:docMk/>
            <pc:sldMk cId="3811477011" sldId="1728"/>
            <ac:grpSpMk id="536" creationId="{A756943D-8367-7F53-9D5E-86349573040B}"/>
          </ac:grpSpMkLst>
        </pc:grpChg>
        <pc:grpChg chg="add del mod">
          <ac:chgData name="Darius Kuddo" userId="da7555aa-d650-4d73-b00b-d01e713f1329" providerId="ADAL" clId="{9A4B509C-EEE7-485A-994E-5919214B754D}" dt="2025-02-20T01:38:55.451" v="1967" actId="165"/>
          <ac:grpSpMkLst>
            <pc:docMk/>
            <pc:sldMk cId="3811477011" sldId="1728"/>
            <ac:grpSpMk id="544" creationId="{1072005F-582A-C401-F22E-22AAFF9C3E74}"/>
          </ac:grpSpMkLst>
        </pc:grpChg>
        <pc:picChg chg="del">
          <ac:chgData name="Darius Kuddo" userId="da7555aa-d650-4d73-b00b-d01e713f1329" providerId="ADAL" clId="{9A4B509C-EEE7-485A-994E-5919214B754D}" dt="2025-02-20T01:38:51.224" v="1965" actId="478"/>
          <ac:picMkLst>
            <pc:docMk/>
            <pc:sldMk cId="3811477011" sldId="1728"/>
            <ac:picMk id="3" creationId="{8A7242C1-96BF-0396-3192-AF79230300C7}"/>
          </ac:picMkLst>
        </pc:picChg>
        <pc:picChg chg="del">
          <ac:chgData name="Darius Kuddo" userId="da7555aa-d650-4d73-b00b-d01e713f1329" providerId="ADAL" clId="{9A4B509C-EEE7-485A-994E-5919214B754D}" dt="2025-02-20T01:38:51.224" v="1965" actId="478"/>
          <ac:picMkLst>
            <pc:docMk/>
            <pc:sldMk cId="3811477011" sldId="1728"/>
            <ac:picMk id="4" creationId="{A0BF16F6-2656-6107-5E4C-5602CE5C97E8}"/>
          </ac:picMkLst>
        </pc:picChg>
        <pc:picChg chg="del">
          <ac:chgData name="Darius Kuddo" userId="da7555aa-d650-4d73-b00b-d01e713f1329" providerId="ADAL" clId="{9A4B509C-EEE7-485A-994E-5919214B754D}" dt="2025-02-20T01:38:51.224" v="1965" actId="478"/>
          <ac:picMkLst>
            <pc:docMk/>
            <pc:sldMk cId="3811477011" sldId="1728"/>
            <ac:picMk id="6" creationId="{BE05C5EC-4019-22C0-3BE0-760E759BB3ED}"/>
          </ac:picMkLst>
        </pc:picChg>
        <pc:picChg chg="del">
          <ac:chgData name="Darius Kuddo" userId="da7555aa-d650-4d73-b00b-d01e713f1329" providerId="ADAL" clId="{9A4B509C-EEE7-485A-994E-5919214B754D}" dt="2025-02-20T01:38:51.224" v="1965" actId="478"/>
          <ac:picMkLst>
            <pc:docMk/>
            <pc:sldMk cId="3811477011" sldId="1728"/>
            <ac:picMk id="7" creationId="{91DB4AD0-E167-BD19-38C1-F4C8CD53ACCC}"/>
          </ac:picMkLst>
        </pc:picChg>
        <pc:picChg chg="del">
          <ac:chgData name="Darius Kuddo" userId="da7555aa-d650-4d73-b00b-d01e713f1329" providerId="ADAL" clId="{9A4B509C-EEE7-485A-994E-5919214B754D}" dt="2025-02-20T01:38:51.224" v="1965" actId="478"/>
          <ac:picMkLst>
            <pc:docMk/>
            <pc:sldMk cId="3811477011" sldId="1728"/>
            <ac:picMk id="8" creationId="{B4E97BDD-5FED-5702-9633-6261BAA57B36}"/>
          </ac:picMkLst>
        </pc:picChg>
        <pc:picChg chg="del">
          <ac:chgData name="Darius Kuddo" userId="da7555aa-d650-4d73-b00b-d01e713f1329" providerId="ADAL" clId="{9A4B509C-EEE7-485A-994E-5919214B754D}" dt="2025-02-20T01:38:51.224" v="1965" actId="478"/>
          <ac:picMkLst>
            <pc:docMk/>
            <pc:sldMk cId="3811477011" sldId="1728"/>
            <ac:picMk id="9" creationId="{311EE07A-6E31-3664-112C-DF6890C0C681}"/>
          </ac:picMkLst>
        </pc:picChg>
        <pc:picChg chg="del">
          <ac:chgData name="Darius Kuddo" userId="da7555aa-d650-4d73-b00b-d01e713f1329" providerId="ADAL" clId="{9A4B509C-EEE7-485A-994E-5919214B754D}" dt="2025-02-20T01:38:51.224" v="1965" actId="478"/>
          <ac:picMkLst>
            <pc:docMk/>
            <pc:sldMk cId="3811477011" sldId="1728"/>
            <ac:picMk id="10" creationId="{A5E43A40-0C85-2E00-D879-B94FDD5DD76A}"/>
          </ac:picMkLst>
        </pc:picChg>
        <pc:picChg chg="del">
          <ac:chgData name="Darius Kuddo" userId="da7555aa-d650-4d73-b00b-d01e713f1329" providerId="ADAL" clId="{9A4B509C-EEE7-485A-994E-5919214B754D}" dt="2025-02-20T01:38:51.224" v="1965" actId="478"/>
          <ac:picMkLst>
            <pc:docMk/>
            <pc:sldMk cId="3811477011" sldId="1728"/>
            <ac:picMk id="15" creationId="{DDC7A01F-C40A-4881-B308-0F159B08BD44}"/>
          </ac:picMkLst>
        </pc:picChg>
        <pc:picChg chg="del">
          <ac:chgData name="Darius Kuddo" userId="da7555aa-d650-4d73-b00b-d01e713f1329" providerId="ADAL" clId="{9A4B509C-EEE7-485A-994E-5919214B754D}" dt="2025-02-20T01:38:51.224" v="1965" actId="478"/>
          <ac:picMkLst>
            <pc:docMk/>
            <pc:sldMk cId="3811477011" sldId="1728"/>
            <ac:picMk id="16" creationId="{CE90E4DA-3597-4C5F-B33C-A3513B4178B5}"/>
          </ac:picMkLst>
        </pc:picChg>
        <pc:picChg chg="mod topLvl">
          <ac:chgData name="Darius Kuddo" userId="da7555aa-d650-4d73-b00b-d01e713f1329" providerId="ADAL" clId="{9A4B509C-EEE7-485A-994E-5919214B754D}" dt="2025-02-20T01:38:55.451" v="1967" actId="165"/>
          <ac:picMkLst>
            <pc:docMk/>
            <pc:sldMk cId="3811477011" sldId="1728"/>
            <ac:picMk id="17" creationId="{853309BA-68DA-358D-9754-6D2C4CA5EC51}"/>
          </ac:picMkLst>
        </pc:picChg>
        <pc:picChg chg="del">
          <ac:chgData name="Darius Kuddo" userId="da7555aa-d650-4d73-b00b-d01e713f1329" providerId="ADAL" clId="{9A4B509C-EEE7-485A-994E-5919214B754D}" dt="2025-02-20T01:38:51.224" v="1965" actId="478"/>
          <ac:picMkLst>
            <pc:docMk/>
            <pc:sldMk cId="3811477011" sldId="1728"/>
            <ac:picMk id="18" creationId="{BF3E34F6-8E58-2BB8-FD49-D23477178E0F}"/>
          </ac:picMkLst>
        </pc:picChg>
        <pc:picChg chg="mod topLvl">
          <ac:chgData name="Darius Kuddo" userId="da7555aa-d650-4d73-b00b-d01e713f1329" providerId="ADAL" clId="{9A4B509C-EEE7-485A-994E-5919214B754D}" dt="2025-02-20T01:38:55.451" v="1967" actId="165"/>
          <ac:picMkLst>
            <pc:docMk/>
            <pc:sldMk cId="3811477011" sldId="1728"/>
            <ac:picMk id="19" creationId="{DC32AC8C-CB3D-4092-9758-89D5525AD091}"/>
          </ac:picMkLst>
        </pc:picChg>
        <pc:picChg chg="del">
          <ac:chgData name="Darius Kuddo" userId="da7555aa-d650-4d73-b00b-d01e713f1329" providerId="ADAL" clId="{9A4B509C-EEE7-485A-994E-5919214B754D}" dt="2025-02-20T01:38:51.224" v="1965" actId="478"/>
          <ac:picMkLst>
            <pc:docMk/>
            <pc:sldMk cId="3811477011" sldId="1728"/>
            <ac:picMk id="24" creationId="{665E0B9E-FD49-B465-82BC-01ECE7D629C4}"/>
          </ac:picMkLst>
        </pc:picChg>
        <pc:picChg chg="del">
          <ac:chgData name="Darius Kuddo" userId="da7555aa-d650-4d73-b00b-d01e713f1329" providerId="ADAL" clId="{9A4B509C-EEE7-485A-994E-5919214B754D}" dt="2025-02-20T01:38:51.224" v="1965" actId="478"/>
          <ac:picMkLst>
            <pc:docMk/>
            <pc:sldMk cId="3811477011" sldId="1728"/>
            <ac:picMk id="25" creationId="{D2D480D6-934A-3DA7-5C07-9E1666201811}"/>
          </ac:picMkLst>
        </pc:picChg>
        <pc:picChg chg="mod topLvl">
          <ac:chgData name="Darius Kuddo" userId="da7555aa-d650-4d73-b00b-d01e713f1329" providerId="ADAL" clId="{9A4B509C-EEE7-485A-994E-5919214B754D}" dt="2025-02-20T01:38:55.451" v="1967" actId="165"/>
          <ac:picMkLst>
            <pc:docMk/>
            <pc:sldMk cId="3811477011" sldId="1728"/>
            <ac:picMk id="26" creationId="{2579FE0B-53B1-CE0B-FC51-3E323552160F}"/>
          </ac:picMkLst>
        </pc:picChg>
        <pc:picChg chg="mod topLvl">
          <ac:chgData name="Darius Kuddo" userId="da7555aa-d650-4d73-b00b-d01e713f1329" providerId="ADAL" clId="{9A4B509C-EEE7-485A-994E-5919214B754D}" dt="2025-02-20T01:38:55.451" v="1967" actId="165"/>
          <ac:picMkLst>
            <pc:docMk/>
            <pc:sldMk cId="3811477011" sldId="1728"/>
            <ac:picMk id="27" creationId="{3E7FBC04-44E7-1015-8C72-BF56351D89EE}"/>
          </ac:picMkLst>
        </pc:picChg>
        <pc:picChg chg="del">
          <ac:chgData name="Darius Kuddo" userId="da7555aa-d650-4d73-b00b-d01e713f1329" providerId="ADAL" clId="{9A4B509C-EEE7-485A-994E-5919214B754D}" dt="2025-02-20T01:38:51.224" v="1965" actId="478"/>
          <ac:picMkLst>
            <pc:docMk/>
            <pc:sldMk cId="3811477011" sldId="1728"/>
            <ac:picMk id="28" creationId="{04AA677C-723F-BD1A-F938-13072344B041}"/>
          </ac:picMkLst>
        </pc:picChg>
        <pc:picChg chg="del">
          <ac:chgData name="Darius Kuddo" userId="da7555aa-d650-4d73-b00b-d01e713f1329" providerId="ADAL" clId="{9A4B509C-EEE7-485A-994E-5919214B754D}" dt="2025-02-20T01:38:51.224" v="1965" actId="478"/>
          <ac:picMkLst>
            <pc:docMk/>
            <pc:sldMk cId="3811477011" sldId="1728"/>
            <ac:picMk id="29" creationId="{0B4CD2F9-050A-0577-CEAC-35F484BD7748}"/>
          </ac:picMkLst>
        </pc:picChg>
        <pc:picChg chg="del">
          <ac:chgData name="Darius Kuddo" userId="da7555aa-d650-4d73-b00b-d01e713f1329" providerId="ADAL" clId="{9A4B509C-EEE7-485A-994E-5919214B754D}" dt="2025-02-20T01:38:51.224" v="1965" actId="478"/>
          <ac:picMkLst>
            <pc:docMk/>
            <pc:sldMk cId="3811477011" sldId="1728"/>
            <ac:picMk id="30" creationId="{C2500979-AF4A-C71B-3FF8-79B775DBB443}"/>
          </ac:picMkLst>
        </pc:picChg>
        <pc:picChg chg="del">
          <ac:chgData name="Darius Kuddo" userId="da7555aa-d650-4d73-b00b-d01e713f1329" providerId="ADAL" clId="{9A4B509C-EEE7-485A-994E-5919214B754D}" dt="2025-02-20T01:38:51.224" v="1965" actId="478"/>
          <ac:picMkLst>
            <pc:docMk/>
            <pc:sldMk cId="3811477011" sldId="1728"/>
            <ac:picMk id="36" creationId="{B0484D74-B65B-A013-2A22-D71AF441D766}"/>
          </ac:picMkLst>
        </pc:picChg>
        <pc:picChg chg="del">
          <ac:chgData name="Darius Kuddo" userId="da7555aa-d650-4d73-b00b-d01e713f1329" providerId="ADAL" clId="{9A4B509C-EEE7-485A-994E-5919214B754D}" dt="2025-02-20T01:38:51.224" v="1965" actId="478"/>
          <ac:picMkLst>
            <pc:docMk/>
            <pc:sldMk cId="3811477011" sldId="1728"/>
            <ac:picMk id="38" creationId="{F3AA31B2-3A88-A1A3-9A39-75A3150CF307}"/>
          </ac:picMkLst>
        </pc:picChg>
        <pc:picChg chg="del">
          <ac:chgData name="Darius Kuddo" userId="da7555aa-d650-4d73-b00b-d01e713f1329" providerId="ADAL" clId="{9A4B509C-EEE7-485A-994E-5919214B754D}" dt="2025-02-20T01:38:51.224" v="1965" actId="478"/>
          <ac:picMkLst>
            <pc:docMk/>
            <pc:sldMk cId="3811477011" sldId="1728"/>
            <ac:picMk id="39" creationId="{F4CAE225-EB18-3022-3C45-23ABF993864E}"/>
          </ac:picMkLst>
        </pc:picChg>
        <pc:picChg chg="mod topLvl">
          <ac:chgData name="Darius Kuddo" userId="da7555aa-d650-4d73-b00b-d01e713f1329" providerId="ADAL" clId="{9A4B509C-EEE7-485A-994E-5919214B754D}" dt="2025-02-20T01:38:55.451" v="1967" actId="165"/>
          <ac:picMkLst>
            <pc:docMk/>
            <pc:sldMk cId="3811477011" sldId="1728"/>
            <ac:picMk id="41" creationId="{49A2DEA4-171C-9578-B5E8-656F1645729A}"/>
          </ac:picMkLst>
        </pc:picChg>
        <pc:picChg chg="del">
          <ac:chgData name="Darius Kuddo" userId="da7555aa-d650-4d73-b00b-d01e713f1329" providerId="ADAL" clId="{9A4B509C-EEE7-485A-994E-5919214B754D}" dt="2025-02-20T01:38:51.224" v="1965" actId="478"/>
          <ac:picMkLst>
            <pc:docMk/>
            <pc:sldMk cId="3811477011" sldId="1728"/>
            <ac:picMk id="42" creationId="{38CCE9E9-6A35-50C8-3A3D-E9C107284226}"/>
          </ac:picMkLst>
        </pc:picChg>
        <pc:picChg chg="mod topLvl">
          <ac:chgData name="Darius Kuddo" userId="da7555aa-d650-4d73-b00b-d01e713f1329" providerId="ADAL" clId="{9A4B509C-EEE7-485A-994E-5919214B754D}" dt="2025-02-20T01:38:55.451" v="1967" actId="165"/>
          <ac:picMkLst>
            <pc:docMk/>
            <pc:sldMk cId="3811477011" sldId="1728"/>
            <ac:picMk id="43" creationId="{38C48D06-3673-8201-B1BD-B5BD7D8BB94D}"/>
          </ac:picMkLst>
        </pc:picChg>
        <pc:picChg chg="mod topLvl">
          <ac:chgData name="Darius Kuddo" userId="da7555aa-d650-4d73-b00b-d01e713f1329" providerId="ADAL" clId="{9A4B509C-EEE7-485A-994E-5919214B754D}" dt="2025-02-20T01:38:55.451" v="1967" actId="165"/>
          <ac:picMkLst>
            <pc:docMk/>
            <pc:sldMk cId="3811477011" sldId="1728"/>
            <ac:picMk id="56" creationId="{02A5EFC2-E3BD-DED4-BD60-6004FF8F28A9}"/>
          </ac:picMkLst>
        </pc:picChg>
        <pc:picChg chg="mod topLvl">
          <ac:chgData name="Darius Kuddo" userId="da7555aa-d650-4d73-b00b-d01e713f1329" providerId="ADAL" clId="{9A4B509C-EEE7-485A-994E-5919214B754D}" dt="2025-02-20T01:38:55.451" v="1967" actId="165"/>
          <ac:picMkLst>
            <pc:docMk/>
            <pc:sldMk cId="3811477011" sldId="1728"/>
            <ac:picMk id="57" creationId="{42E61CA2-9AD7-EC66-46C6-3B500F0DC4FF}"/>
          </ac:picMkLst>
        </pc:picChg>
        <pc:picChg chg="mod topLvl">
          <ac:chgData name="Darius Kuddo" userId="da7555aa-d650-4d73-b00b-d01e713f1329" providerId="ADAL" clId="{9A4B509C-EEE7-485A-994E-5919214B754D}" dt="2025-02-20T01:38:55.451" v="1967" actId="165"/>
          <ac:picMkLst>
            <pc:docMk/>
            <pc:sldMk cId="3811477011" sldId="1728"/>
            <ac:picMk id="58" creationId="{357B88D7-FA39-487C-CBA0-B91A8D61126B}"/>
          </ac:picMkLst>
        </pc:picChg>
        <pc:picChg chg="mod topLvl">
          <ac:chgData name="Darius Kuddo" userId="da7555aa-d650-4d73-b00b-d01e713f1329" providerId="ADAL" clId="{9A4B509C-EEE7-485A-994E-5919214B754D}" dt="2025-02-20T01:38:55.451" v="1967" actId="165"/>
          <ac:picMkLst>
            <pc:docMk/>
            <pc:sldMk cId="3811477011" sldId="1728"/>
            <ac:picMk id="67" creationId="{408EDEDB-4794-F6CE-AB1C-CD705082158D}"/>
          </ac:picMkLst>
        </pc:picChg>
        <pc:picChg chg="mod topLvl">
          <ac:chgData name="Darius Kuddo" userId="da7555aa-d650-4d73-b00b-d01e713f1329" providerId="ADAL" clId="{9A4B509C-EEE7-485A-994E-5919214B754D}" dt="2025-02-20T01:38:55.451" v="1967" actId="165"/>
          <ac:picMkLst>
            <pc:docMk/>
            <pc:sldMk cId="3811477011" sldId="1728"/>
            <ac:picMk id="69" creationId="{0863BB5A-B651-D666-D711-C22D50276D0D}"/>
          </ac:picMkLst>
        </pc:picChg>
        <pc:picChg chg="mod topLvl">
          <ac:chgData name="Darius Kuddo" userId="da7555aa-d650-4d73-b00b-d01e713f1329" providerId="ADAL" clId="{9A4B509C-EEE7-485A-994E-5919214B754D}" dt="2025-02-20T01:38:59.841" v="1968" actId="165"/>
          <ac:picMkLst>
            <pc:docMk/>
            <pc:sldMk cId="3811477011" sldId="1728"/>
            <ac:picMk id="73" creationId="{A1364A8F-61A6-A81B-4D6C-7B3CA88C7D51}"/>
          </ac:picMkLst>
        </pc:picChg>
        <pc:picChg chg="mod topLvl">
          <ac:chgData name="Darius Kuddo" userId="da7555aa-d650-4d73-b00b-d01e713f1329" providerId="ADAL" clId="{9A4B509C-EEE7-485A-994E-5919214B754D}" dt="2025-02-20T01:38:59.841" v="1968" actId="165"/>
          <ac:picMkLst>
            <pc:docMk/>
            <pc:sldMk cId="3811477011" sldId="1728"/>
            <ac:picMk id="75" creationId="{B4AC0779-49C0-5A38-5C94-A7DBA3E91044}"/>
          </ac:picMkLst>
        </pc:picChg>
        <pc:picChg chg="add mod">
          <ac:chgData name="Darius Kuddo" userId="da7555aa-d650-4d73-b00b-d01e713f1329" providerId="ADAL" clId="{9A4B509C-EEE7-485A-994E-5919214B754D}" dt="2025-02-20T01:38:51.563" v="1966"/>
          <ac:picMkLst>
            <pc:docMk/>
            <pc:sldMk cId="3811477011" sldId="1728"/>
            <ac:picMk id="80" creationId="{993DD20B-3DB6-5474-41CE-9D64519F0D8D}"/>
          </ac:picMkLst>
        </pc:picChg>
        <pc:picChg chg="add mod">
          <ac:chgData name="Darius Kuddo" userId="da7555aa-d650-4d73-b00b-d01e713f1329" providerId="ADAL" clId="{9A4B509C-EEE7-485A-994E-5919214B754D}" dt="2025-02-20T01:38:51.563" v="1966"/>
          <ac:picMkLst>
            <pc:docMk/>
            <pc:sldMk cId="3811477011" sldId="1728"/>
            <ac:picMk id="88" creationId="{786930E3-7E25-9882-D7CD-EE16EE84DFF7}"/>
          </ac:picMkLst>
        </pc:picChg>
        <pc:picChg chg="add mod">
          <ac:chgData name="Darius Kuddo" userId="da7555aa-d650-4d73-b00b-d01e713f1329" providerId="ADAL" clId="{9A4B509C-EEE7-485A-994E-5919214B754D}" dt="2025-02-20T01:38:51.563" v="1966"/>
          <ac:picMkLst>
            <pc:docMk/>
            <pc:sldMk cId="3811477011" sldId="1728"/>
            <ac:picMk id="91" creationId="{73A4840A-B78D-1DEB-63BD-3DEC6178584A}"/>
          </ac:picMkLst>
        </pc:picChg>
        <pc:picChg chg="add mod">
          <ac:chgData name="Darius Kuddo" userId="da7555aa-d650-4d73-b00b-d01e713f1329" providerId="ADAL" clId="{9A4B509C-EEE7-485A-994E-5919214B754D}" dt="2025-02-20T01:38:51.563" v="1966"/>
          <ac:picMkLst>
            <pc:docMk/>
            <pc:sldMk cId="3811477011" sldId="1728"/>
            <ac:picMk id="92" creationId="{501BE2FB-AAD7-31DF-16E2-5B427F3DE46B}"/>
          </ac:picMkLst>
        </pc:picChg>
        <pc:picChg chg="add mod">
          <ac:chgData name="Darius Kuddo" userId="da7555aa-d650-4d73-b00b-d01e713f1329" providerId="ADAL" clId="{9A4B509C-EEE7-485A-994E-5919214B754D}" dt="2025-02-20T01:38:51.563" v="1966"/>
          <ac:picMkLst>
            <pc:docMk/>
            <pc:sldMk cId="3811477011" sldId="1728"/>
            <ac:picMk id="93" creationId="{54BF913B-2886-DD3B-E2A8-D3480D0592A5}"/>
          </ac:picMkLst>
        </pc:picChg>
        <pc:picChg chg="add mod">
          <ac:chgData name="Darius Kuddo" userId="da7555aa-d650-4d73-b00b-d01e713f1329" providerId="ADAL" clId="{9A4B509C-EEE7-485A-994E-5919214B754D}" dt="2025-02-20T01:38:51.563" v="1966"/>
          <ac:picMkLst>
            <pc:docMk/>
            <pc:sldMk cId="3811477011" sldId="1728"/>
            <ac:picMk id="94" creationId="{AF995186-3F22-F2ED-626B-4A430599AF12}"/>
          </ac:picMkLst>
        </pc:picChg>
        <pc:picChg chg="add mod">
          <ac:chgData name="Darius Kuddo" userId="da7555aa-d650-4d73-b00b-d01e713f1329" providerId="ADAL" clId="{9A4B509C-EEE7-485A-994E-5919214B754D}" dt="2025-02-20T01:38:51.563" v="1966"/>
          <ac:picMkLst>
            <pc:docMk/>
            <pc:sldMk cId="3811477011" sldId="1728"/>
            <ac:picMk id="95" creationId="{26CB542E-07C3-3560-0336-4CD7BD12A348}"/>
          </ac:picMkLst>
        </pc:picChg>
        <pc:picChg chg="mod topLvl">
          <ac:chgData name="Darius Kuddo" userId="da7555aa-d650-4d73-b00b-d01e713f1329" providerId="ADAL" clId="{9A4B509C-EEE7-485A-994E-5919214B754D}" dt="2025-02-20T01:38:55.451" v="1967" actId="165"/>
          <ac:picMkLst>
            <pc:docMk/>
            <pc:sldMk cId="3811477011" sldId="1728"/>
            <ac:picMk id="101" creationId="{17071707-F12B-59FD-4B4C-AB298529DBED}"/>
          </ac:picMkLst>
        </pc:picChg>
        <pc:picChg chg="mod topLvl">
          <ac:chgData name="Darius Kuddo" userId="da7555aa-d650-4d73-b00b-d01e713f1329" providerId="ADAL" clId="{9A4B509C-EEE7-485A-994E-5919214B754D}" dt="2025-02-20T01:38:55.451" v="1967" actId="165"/>
          <ac:picMkLst>
            <pc:docMk/>
            <pc:sldMk cId="3811477011" sldId="1728"/>
            <ac:picMk id="102" creationId="{0EDE9D33-D518-1968-1266-23C70A889328}"/>
          </ac:picMkLst>
        </pc:picChg>
        <pc:picChg chg="mod topLvl">
          <ac:chgData name="Darius Kuddo" userId="da7555aa-d650-4d73-b00b-d01e713f1329" providerId="ADAL" clId="{9A4B509C-EEE7-485A-994E-5919214B754D}" dt="2025-02-20T01:38:55.451" v="1967" actId="165"/>
          <ac:picMkLst>
            <pc:docMk/>
            <pc:sldMk cId="3811477011" sldId="1728"/>
            <ac:picMk id="103" creationId="{D60BC2F7-59F0-7FD7-56B1-2830A0BAFCDD}"/>
          </ac:picMkLst>
        </pc:picChg>
        <pc:picChg chg="mod topLvl">
          <ac:chgData name="Darius Kuddo" userId="da7555aa-d650-4d73-b00b-d01e713f1329" providerId="ADAL" clId="{9A4B509C-EEE7-485A-994E-5919214B754D}" dt="2025-02-20T01:38:55.451" v="1967" actId="165"/>
          <ac:picMkLst>
            <pc:docMk/>
            <pc:sldMk cId="3811477011" sldId="1728"/>
            <ac:picMk id="104" creationId="{A7E28F95-1671-6352-DD67-470E828EE352}"/>
          </ac:picMkLst>
        </pc:picChg>
        <pc:picChg chg="mod topLvl">
          <ac:chgData name="Darius Kuddo" userId="da7555aa-d650-4d73-b00b-d01e713f1329" providerId="ADAL" clId="{9A4B509C-EEE7-485A-994E-5919214B754D}" dt="2025-02-20T01:38:59.841" v="1968" actId="165"/>
          <ac:picMkLst>
            <pc:docMk/>
            <pc:sldMk cId="3811477011" sldId="1728"/>
            <ac:picMk id="108" creationId="{4F0941D5-C9F2-E98A-FBDB-5BE34C4EF8F2}"/>
          </ac:picMkLst>
        </pc:picChg>
        <pc:picChg chg="mod topLvl">
          <ac:chgData name="Darius Kuddo" userId="da7555aa-d650-4d73-b00b-d01e713f1329" providerId="ADAL" clId="{9A4B509C-EEE7-485A-994E-5919214B754D}" dt="2025-02-20T01:38:59.841" v="1968" actId="165"/>
          <ac:picMkLst>
            <pc:docMk/>
            <pc:sldMk cId="3811477011" sldId="1728"/>
            <ac:picMk id="109" creationId="{F07DC07E-0759-A88A-CE36-26C19F84309C}"/>
          </ac:picMkLst>
        </pc:picChg>
        <pc:picChg chg="add mod">
          <ac:chgData name="Darius Kuddo" userId="da7555aa-d650-4d73-b00b-d01e713f1329" providerId="ADAL" clId="{9A4B509C-EEE7-485A-994E-5919214B754D}" dt="2025-02-20T01:38:51.563" v="1966"/>
          <ac:picMkLst>
            <pc:docMk/>
            <pc:sldMk cId="3811477011" sldId="1728"/>
            <ac:picMk id="114" creationId="{65847271-27C0-D42D-E394-457F58D88A79}"/>
          </ac:picMkLst>
        </pc:picChg>
        <pc:picChg chg="add mod">
          <ac:chgData name="Darius Kuddo" userId="da7555aa-d650-4d73-b00b-d01e713f1329" providerId="ADAL" clId="{9A4B509C-EEE7-485A-994E-5919214B754D}" dt="2025-02-20T01:38:51.563" v="1966"/>
          <ac:picMkLst>
            <pc:docMk/>
            <pc:sldMk cId="3811477011" sldId="1728"/>
            <ac:picMk id="116" creationId="{5CF22A6E-86AF-7375-1B47-E3EC2DCEE85C}"/>
          </ac:picMkLst>
        </pc:picChg>
        <pc:picChg chg="add mod">
          <ac:chgData name="Darius Kuddo" userId="da7555aa-d650-4d73-b00b-d01e713f1329" providerId="ADAL" clId="{9A4B509C-EEE7-485A-994E-5919214B754D}" dt="2025-02-20T01:38:51.563" v="1966"/>
          <ac:picMkLst>
            <pc:docMk/>
            <pc:sldMk cId="3811477011" sldId="1728"/>
            <ac:picMk id="117" creationId="{979DE210-44A2-1F24-8D34-3C31B8D40E6E}"/>
          </ac:picMkLst>
        </pc:picChg>
        <pc:picChg chg="add mod">
          <ac:chgData name="Darius Kuddo" userId="da7555aa-d650-4d73-b00b-d01e713f1329" providerId="ADAL" clId="{9A4B509C-EEE7-485A-994E-5919214B754D}" dt="2025-02-20T01:38:51.563" v="1966"/>
          <ac:picMkLst>
            <pc:docMk/>
            <pc:sldMk cId="3811477011" sldId="1728"/>
            <ac:picMk id="122" creationId="{9DA95619-80CF-5B5F-C5B6-AF77363728DC}"/>
          </ac:picMkLst>
        </pc:picChg>
        <pc:picChg chg="mod topLvl">
          <ac:chgData name="Darius Kuddo" userId="da7555aa-d650-4d73-b00b-d01e713f1329" providerId="ADAL" clId="{9A4B509C-EEE7-485A-994E-5919214B754D}" dt="2025-02-20T01:38:55.451" v="1967" actId="165"/>
          <ac:picMkLst>
            <pc:docMk/>
            <pc:sldMk cId="3811477011" sldId="1728"/>
            <ac:picMk id="124" creationId="{96A58ED3-26EC-AFB9-3763-B8E45DB2556B}"/>
          </ac:picMkLst>
        </pc:picChg>
        <pc:picChg chg="del mod topLvl">
          <ac:chgData name="Darius Kuddo" userId="da7555aa-d650-4d73-b00b-d01e713f1329" providerId="ADAL" clId="{9A4B509C-EEE7-485A-994E-5919214B754D}" dt="2025-02-20T01:38:51.224" v="1965" actId="478"/>
          <ac:picMkLst>
            <pc:docMk/>
            <pc:sldMk cId="3811477011" sldId="1728"/>
            <ac:picMk id="166" creationId="{AEC90ACE-E620-F818-10A9-F08E4F7E0397}"/>
          </ac:picMkLst>
        </pc:picChg>
        <pc:picChg chg="del mod topLvl">
          <ac:chgData name="Darius Kuddo" userId="da7555aa-d650-4d73-b00b-d01e713f1329" providerId="ADAL" clId="{9A4B509C-EEE7-485A-994E-5919214B754D}" dt="2025-02-20T01:38:51.224" v="1965" actId="478"/>
          <ac:picMkLst>
            <pc:docMk/>
            <pc:sldMk cId="3811477011" sldId="1728"/>
            <ac:picMk id="167" creationId="{D48172F1-33E1-7A99-9285-D6728A57167B}"/>
          </ac:picMkLst>
        </pc:picChg>
        <pc:picChg chg="del mod topLvl">
          <ac:chgData name="Darius Kuddo" userId="da7555aa-d650-4d73-b00b-d01e713f1329" providerId="ADAL" clId="{9A4B509C-EEE7-485A-994E-5919214B754D}" dt="2025-02-20T01:38:51.224" v="1965" actId="478"/>
          <ac:picMkLst>
            <pc:docMk/>
            <pc:sldMk cId="3811477011" sldId="1728"/>
            <ac:picMk id="168" creationId="{F0C01331-2C9D-CD32-582F-2E5EBDEAA2D8}"/>
          </ac:picMkLst>
        </pc:picChg>
        <pc:picChg chg="del">
          <ac:chgData name="Darius Kuddo" userId="da7555aa-d650-4d73-b00b-d01e713f1329" providerId="ADAL" clId="{9A4B509C-EEE7-485A-994E-5919214B754D}" dt="2025-02-20T01:38:51.224" v="1965" actId="478"/>
          <ac:picMkLst>
            <pc:docMk/>
            <pc:sldMk cId="3811477011" sldId="1728"/>
            <ac:picMk id="189" creationId="{F9C9A905-13CE-3141-ABBD-09350BF8EAB5}"/>
          </ac:picMkLst>
        </pc:picChg>
        <pc:picChg chg="del">
          <ac:chgData name="Darius Kuddo" userId="da7555aa-d650-4d73-b00b-d01e713f1329" providerId="ADAL" clId="{9A4B509C-EEE7-485A-994E-5919214B754D}" dt="2025-02-20T01:38:51.224" v="1965" actId="478"/>
          <ac:picMkLst>
            <pc:docMk/>
            <pc:sldMk cId="3811477011" sldId="1728"/>
            <ac:picMk id="190" creationId="{5FE4E6EC-0CDE-820A-C21E-9B386F875841}"/>
          </ac:picMkLst>
        </pc:picChg>
        <pc:picChg chg="del">
          <ac:chgData name="Darius Kuddo" userId="da7555aa-d650-4d73-b00b-d01e713f1329" providerId="ADAL" clId="{9A4B509C-EEE7-485A-994E-5919214B754D}" dt="2025-02-20T01:38:51.224" v="1965" actId="478"/>
          <ac:picMkLst>
            <pc:docMk/>
            <pc:sldMk cId="3811477011" sldId="1728"/>
            <ac:picMk id="196" creationId="{A48CA271-A022-E005-4EE2-6B25E5DCFF0D}"/>
          </ac:picMkLst>
        </pc:picChg>
        <pc:picChg chg="del">
          <ac:chgData name="Darius Kuddo" userId="da7555aa-d650-4d73-b00b-d01e713f1329" providerId="ADAL" clId="{9A4B509C-EEE7-485A-994E-5919214B754D}" dt="2025-02-20T01:38:51.224" v="1965" actId="478"/>
          <ac:picMkLst>
            <pc:docMk/>
            <pc:sldMk cId="3811477011" sldId="1728"/>
            <ac:picMk id="197" creationId="{62B8DDC4-1165-D248-5362-79DD3ED0FFC6}"/>
          </ac:picMkLst>
        </pc:picChg>
        <pc:picChg chg="del mod topLvl">
          <ac:chgData name="Darius Kuddo" userId="da7555aa-d650-4d73-b00b-d01e713f1329" providerId="ADAL" clId="{9A4B509C-EEE7-485A-994E-5919214B754D}" dt="2025-02-20T01:38:51.224" v="1965" actId="478"/>
          <ac:picMkLst>
            <pc:docMk/>
            <pc:sldMk cId="3811477011" sldId="1728"/>
            <ac:picMk id="200" creationId="{BC8C9CD7-9530-F3F8-8F3B-C6BCB39F8AA2}"/>
          </ac:picMkLst>
        </pc:picChg>
        <pc:picChg chg="del mod topLvl">
          <ac:chgData name="Darius Kuddo" userId="da7555aa-d650-4d73-b00b-d01e713f1329" providerId="ADAL" clId="{9A4B509C-EEE7-485A-994E-5919214B754D}" dt="2025-02-20T01:38:51.224" v="1965" actId="478"/>
          <ac:picMkLst>
            <pc:docMk/>
            <pc:sldMk cId="3811477011" sldId="1728"/>
            <ac:picMk id="201" creationId="{ECBD3874-6F68-B963-05A7-730DB2E6B128}"/>
          </ac:picMkLst>
        </pc:picChg>
        <pc:picChg chg="del">
          <ac:chgData name="Darius Kuddo" userId="da7555aa-d650-4d73-b00b-d01e713f1329" providerId="ADAL" clId="{9A4B509C-EEE7-485A-994E-5919214B754D}" dt="2025-02-20T01:38:51.224" v="1965" actId="478"/>
          <ac:picMkLst>
            <pc:docMk/>
            <pc:sldMk cId="3811477011" sldId="1728"/>
            <ac:picMk id="244" creationId="{AB8230C0-B172-4719-193E-195D3A971878}"/>
          </ac:picMkLst>
        </pc:picChg>
        <pc:picChg chg="del">
          <ac:chgData name="Darius Kuddo" userId="da7555aa-d650-4d73-b00b-d01e713f1329" providerId="ADAL" clId="{9A4B509C-EEE7-485A-994E-5919214B754D}" dt="2025-02-20T01:38:51.224" v="1965" actId="478"/>
          <ac:picMkLst>
            <pc:docMk/>
            <pc:sldMk cId="3811477011" sldId="1728"/>
            <ac:picMk id="245" creationId="{C42E652F-A187-C504-1255-91B65553D659}"/>
          </ac:picMkLst>
        </pc:picChg>
        <pc:picChg chg="del">
          <ac:chgData name="Darius Kuddo" userId="da7555aa-d650-4d73-b00b-d01e713f1329" providerId="ADAL" clId="{9A4B509C-EEE7-485A-994E-5919214B754D}" dt="2025-02-20T01:38:51.224" v="1965" actId="478"/>
          <ac:picMkLst>
            <pc:docMk/>
            <pc:sldMk cId="3811477011" sldId="1728"/>
            <ac:picMk id="286" creationId="{B2EBCA47-D21A-4C91-4397-4EDDFACB29CE}"/>
          </ac:picMkLst>
        </pc:picChg>
        <pc:picChg chg="del">
          <ac:chgData name="Darius Kuddo" userId="da7555aa-d650-4d73-b00b-d01e713f1329" providerId="ADAL" clId="{9A4B509C-EEE7-485A-994E-5919214B754D}" dt="2025-02-20T01:38:51.224" v="1965" actId="478"/>
          <ac:picMkLst>
            <pc:docMk/>
            <pc:sldMk cId="3811477011" sldId="1728"/>
            <ac:picMk id="305" creationId="{4A848BAA-75A0-992A-CDEC-A86F17A8EDBB}"/>
          </ac:picMkLst>
        </pc:picChg>
        <pc:picChg chg="del">
          <ac:chgData name="Darius Kuddo" userId="da7555aa-d650-4d73-b00b-d01e713f1329" providerId="ADAL" clId="{9A4B509C-EEE7-485A-994E-5919214B754D}" dt="2025-02-20T01:38:51.224" v="1965" actId="478"/>
          <ac:picMkLst>
            <pc:docMk/>
            <pc:sldMk cId="3811477011" sldId="1728"/>
            <ac:picMk id="306" creationId="{DB6A82F1-7CD1-2F26-4DC7-C7CC0B9319BC}"/>
          </ac:picMkLst>
        </pc:picChg>
        <pc:picChg chg="del">
          <ac:chgData name="Darius Kuddo" userId="da7555aa-d650-4d73-b00b-d01e713f1329" providerId="ADAL" clId="{9A4B509C-EEE7-485A-994E-5919214B754D}" dt="2025-02-20T01:38:51.224" v="1965" actId="478"/>
          <ac:picMkLst>
            <pc:docMk/>
            <pc:sldMk cId="3811477011" sldId="1728"/>
            <ac:picMk id="307" creationId="{9C931467-4961-FF97-3D9E-DC240A6589D8}"/>
          </ac:picMkLst>
        </pc:picChg>
        <pc:picChg chg="mod topLvl">
          <ac:chgData name="Darius Kuddo" userId="da7555aa-d650-4d73-b00b-d01e713f1329" providerId="ADAL" clId="{9A4B509C-EEE7-485A-994E-5919214B754D}" dt="2025-02-20T01:38:55.451" v="1967" actId="165"/>
          <ac:picMkLst>
            <pc:docMk/>
            <pc:sldMk cId="3811477011" sldId="1728"/>
            <ac:picMk id="449" creationId="{F1746ECB-09E1-B42C-E775-381914C3F86A}"/>
          </ac:picMkLst>
        </pc:picChg>
        <pc:picChg chg="mod topLvl">
          <ac:chgData name="Darius Kuddo" userId="da7555aa-d650-4d73-b00b-d01e713f1329" providerId="ADAL" clId="{9A4B509C-EEE7-485A-994E-5919214B754D}" dt="2025-02-20T01:38:55.451" v="1967" actId="165"/>
          <ac:picMkLst>
            <pc:docMk/>
            <pc:sldMk cId="3811477011" sldId="1728"/>
            <ac:picMk id="450" creationId="{D801CCE1-E9D9-0CA7-56AD-8B85329A611B}"/>
          </ac:picMkLst>
        </pc:picChg>
        <pc:picChg chg="add mod">
          <ac:chgData name="Darius Kuddo" userId="da7555aa-d650-4d73-b00b-d01e713f1329" providerId="ADAL" clId="{9A4B509C-EEE7-485A-994E-5919214B754D}" dt="2025-02-20T01:38:51.563" v="1966"/>
          <ac:picMkLst>
            <pc:docMk/>
            <pc:sldMk cId="3811477011" sldId="1728"/>
            <ac:picMk id="459" creationId="{02C1AAD1-79CB-8FBE-0894-F95F6480D363}"/>
          </ac:picMkLst>
        </pc:picChg>
        <pc:picChg chg="add mod">
          <ac:chgData name="Darius Kuddo" userId="da7555aa-d650-4d73-b00b-d01e713f1329" providerId="ADAL" clId="{9A4B509C-EEE7-485A-994E-5919214B754D}" dt="2025-02-20T01:38:51.563" v="1966"/>
          <ac:picMkLst>
            <pc:docMk/>
            <pc:sldMk cId="3811477011" sldId="1728"/>
            <ac:picMk id="460" creationId="{3001F9C5-8A4B-707F-CF4D-66D3898AA218}"/>
          </ac:picMkLst>
        </pc:picChg>
        <pc:picChg chg="add mod">
          <ac:chgData name="Darius Kuddo" userId="da7555aa-d650-4d73-b00b-d01e713f1329" providerId="ADAL" clId="{9A4B509C-EEE7-485A-994E-5919214B754D}" dt="2025-02-20T01:38:51.563" v="1966"/>
          <ac:picMkLst>
            <pc:docMk/>
            <pc:sldMk cId="3811477011" sldId="1728"/>
            <ac:picMk id="476" creationId="{ACD2A524-C42B-2060-9F4A-9192FA0BE8B9}"/>
          </ac:picMkLst>
        </pc:picChg>
        <pc:picChg chg="del mod topLvl">
          <ac:chgData name="Darius Kuddo" userId="da7555aa-d650-4d73-b00b-d01e713f1329" providerId="ADAL" clId="{9A4B509C-EEE7-485A-994E-5919214B754D}" dt="2025-02-20T01:38:51.224" v="1965" actId="478"/>
          <ac:picMkLst>
            <pc:docMk/>
            <pc:sldMk cId="3811477011" sldId="1728"/>
            <ac:picMk id="480" creationId="{80491D04-935E-0D03-2BE5-DC5C7CAA1D34}"/>
          </ac:picMkLst>
        </pc:picChg>
        <pc:picChg chg="del mod topLvl">
          <ac:chgData name="Darius Kuddo" userId="da7555aa-d650-4d73-b00b-d01e713f1329" providerId="ADAL" clId="{9A4B509C-EEE7-485A-994E-5919214B754D}" dt="2025-02-20T01:38:51.224" v="1965" actId="478"/>
          <ac:picMkLst>
            <pc:docMk/>
            <pc:sldMk cId="3811477011" sldId="1728"/>
            <ac:picMk id="481" creationId="{83D08D96-4B40-F091-EADB-A4822170BB0C}"/>
          </ac:picMkLst>
        </pc:picChg>
        <pc:picChg chg="add mod">
          <ac:chgData name="Darius Kuddo" userId="da7555aa-d650-4d73-b00b-d01e713f1329" providerId="ADAL" clId="{9A4B509C-EEE7-485A-994E-5919214B754D}" dt="2025-02-20T01:38:51.563" v="1966"/>
          <ac:picMkLst>
            <pc:docMk/>
            <pc:sldMk cId="3811477011" sldId="1728"/>
            <ac:picMk id="482" creationId="{C713AAA0-5E47-5B15-A662-3497EE18E93D}"/>
          </ac:picMkLst>
        </pc:picChg>
        <pc:picChg chg="mod topLvl">
          <ac:chgData name="Darius Kuddo" userId="da7555aa-d650-4d73-b00b-d01e713f1329" providerId="ADAL" clId="{9A4B509C-EEE7-485A-994E-5919214B754D}" dt="2025-02-20T01:38:55.451" v="1967" actId="165"/>
          <ac:picMkLst>
            <pc:docMk/>
            <pc:sldMk cId="3811477011" sldId="1728"/>
            <ac:picMk id="484" creationId="{B7AE0214-11AD-8E4B-0CBF-E4CA8570B5D2}"/>
          </ac:picMkLst>
        </pc:picChg>
        <pc:picChg chg="add mod">
          <ac:chgData name="Darius Kuddo" userId="da7555aa-d650-4d73-b00b-d01e713f1329" providerId="ADAL" clId="{9A4B509C-EEE7-485A-994E-5919214B754D}" dt="2025-02-20T01:38:51.563" v="1966"/>
          <ac:picMkLst>
            <pc:docMk/>
            <pc:sldMk cId="3811477011" sldId="1728"/>
            <ac:picMk id="502" creationId="{4184B13C-02E1-C355-BD15-C100AC1B8676}"/>
          </ac:picMkLst>
        </pc:picChg>
        <pc:picChg chg="del">
          <ac:chgData name="Darius Kuddo" userId="da7555aa-d650-4d73-b00b-d01e713f1329" providerId="ADAL" clId="{9A4B509C-EEE7-485A-994E-5919214B754D}" dt="2025-02-20T01:38:51.224" v="1965" actId="478"/>
          <ac:picMkLst>
            <pc:docMk/>
            <pc:sldMk cId="3811477011" sldId="1728"/>
            <ac:picMk id="503" creationId="{278BE49C-20FE-F263-D0A8-68A5413A5CD5}"/>
          </ac:picMkLst>
        </pc:picChg>
        <pc:picChg chg="del">
          <ac:chgData name="Darius Kuddo" userId="da7555aa-d650-4d73-b00b-d01e713f1329" providerId="ADAL" clId="{9A4B509C-EEE7-485A-994E-5919214B754D}" dt="2025-02-20T01:38:51.224" v="1965" actId="478"/>
          <ac:picMkLst>
            <pc:docMk/>
            <pc:sldMk cId="3811477011" sldId="1728"/>
            <ac:picMk id="504" creationId="{2207B98F-E83B-2184-C02F-932617ED9C98}"/>
          </ac:picMkLst>
        </pc:picChg>
        <pc:picChg chg="add mod">
          <ac:chgData name="Darius Kuddo" userId="da7555aa-d650-4d73-b00b-d01e713f1329" providerId="ADAL" clId="{9A4B509C-EEE7-485A-994E-5919214B754D}" dt="2025-02-20T01:38:51.563" v="1966"/>
          <ac:picMkLst>
            <pc:docMk/>
            <pc:sldMk cId="3811477011" sldId="1728"/>
            <ac:picMk id="505" creationId="{39F06C4B-EFC9-227E-71C9-E9AF8A148437}"/>
          </ac:picMkLst>
        </pc:picChg>
        <pc:picChg chg="mod topLvl">
          <ac:chgData name="Darius Kuddo" userId="da7555aa-d650-4d73-b00b-d01e713f1329" providerId="ADAL" clId="{9A4B509C-EEE7-485A-994E-5919214B754D}" dt="2025-02-20T01:38:55.451" v="1967" actId="165"/>
          <ac:picMkLst>
            <pc:docMk/>
            <pc:sldMk cId="3811477011" sldId="1728"/>
            <ac:picMk id="533" creationId="{806434D2-BE15-26A4-657C-8700DA214D7B}"/>
          </ac:picMkLst>
        </pc:picChg>
        <pc:picChg chg="mod topLvl">
          <ac:chgData name="Darius Kuddo" userId="da7555aa-d650-4d73-b00b-d01e713f1329" providerId="ADAL" clId="{9A4B509C-EEE7-485A-994E-5919214B754D}" dt="2025-02-20T01:38:55.451" v="1967" actId="165"/>
          <ac:picMkLst>
            <pc:docMk/>
            <pc:sldMk cId="3811477011" sldId="1728"/>
            <ac:picMk id="534" creationId="{4795856D-6604-295E-C5F5-B13BCED7D30A}"/>
          </ac:picMkLst>
        </pc:picChg>
        <pc:picChg chg="add mod">
          <ac:chgData name="Darius Kuddo" userId="da7555aa-d650-4d73-b00b-d01e713f1329" providerId="ADAL" clId="{9A4B509C-EEE7-485A-994E-5919214B754D}" dt="2025-02-20T01:38:51.563" v="1966"/>
          <ac:picMkLst>
            <pc:docMk/>
            <pc:sldMk cId="3811477011" sldId="1728"/>
            <ac:picMk id="535" creationId="{6B5C05EF-3DCF-3758-A84B-28F8F7F6DB14}"/>
          </ac:picMkLst>
        </pc:picChg>
        <pc:picChg chg="mod topLvl">
          <ac:chgData name="Darius Kuddo" userId="da7555aa-d650-4d73-b00b-d01e713f1329" providerId="ADAL" clId="{9A4B509C-EEE7-485A-994E-5919214B754D}" dt="2025-02-20T01:38:55.451" v="1967" actId="165"/>
          <ac:picMkLst>
            <pc:docMk/>
            <pc:sldMk cId="3811477011" sldId="1728"/>
            <ac:picMk id="542" creationId="{0C1F1E5F-4DCF-82AA-6B95-15545EE01059}"/>
          </ac:picMkLst>
        </pc:picChg>
        <pc:picChg chg="mod topLvl">
          <ac:chgData name="Darius Kuddo" userId="da7555aa-d650-4d73-b00b-d01e713f1329" providerId="ADAL" clId="{9A4B509C-EEE7-485A-994E-5919214B754D}" dt="2025-02-20T01:38:55.451" v="1967" actId="165"/>
          <ac:picMkLst>
            <pc:docMk/>
            <pc:sldMk cId="3811477011" sldId="1728"/>
            <ac:picMk id="543" creationId="{16639622-2357-6788-7F7D-B4721AF48344}"/>
          </ac:picMkLst>
        </pc:picChg>
        <pc:picChg chg="mod topLvl">
          <ac:chgData name="Darius Kuddo" userId="da7555aa-d650-4d73-b00b-d01e713f1329" providerId="ADAL" clId="{9A4B509C-EEE7-485A-994E-5919214B754D}" dt="2025-02-20T01:38:55.451" v="1967" actId="165"/>
          <ac:picMkLst>
            <pc:docMk/>
            <pc:sldMk cId="3811477011" sldId="1728"/>
            <ac:picMk id="548" creationId="{87AF8BD6-80AB-4E0B-1B16-9E533BE9351D}"/>
          </ac:picMkLst>
        </pc:picChg>
        <pc:picChg chg="mod topLvl">
          <ac:chgData name="Darius Kuddo" userId="da7555aa-d650-4d73-b00b-d01e713f1329" providerId="ADAL" clId="{9A4B509C-EEE7-485A-994E-5919214B754D}" dt="2025-02-20T01:38:55.451" v="1967" actId="165"/>
          <ac:picMkLst>
            <pc:docMk/>
            <pc:sldMk cId="3811477011" sldId="1728"/>
            <ac:picMk id="549" creationId="{256C78C0-11DB-AA77-6924-A14543145379}"/>
          </ac:picMkLst>
        </pc:picChg>
        <pc:picChg chg="del">
          <ac:chgData name="Darius Kuddo" userId="da7555aa-d650-4d73-b00b-d01e713f1329" providerId="ADAL" clId="{9A4B509C-EEE7-485A-994E-5919214B754D}" dt="2025-02-20T01:38:51.224" v="1965" actId="478"/>
          <ac:picMkLst>
            <pc:docMk/>
            <pc:sldMk cId="3811477011" sldId="1728"/>
            <ac:picMk id="572" creationId="{9295F32A-AD08-FE39-D5A9-2618C151B6FB}"/>
          </ac:picMkLst>
        </pc:picChg>
        <pc:picChg chg="del">
          <ac:chgData name="Darius Kuddo" userId="da7555aa-d650-4d73-b00b-d01e713f1329" providerId="ADAL" clId="{9A4B509C-EEE7-485A-994E-5919214B754D}" dt="2025-02-20T01:38:51.224" v="1965" actId="478"/>
          <ac:picMkLst>
            <pc:docMk/>
            <pc:sldMk cId="3811477011" sldId="1728"/>
            <ac:picMk id="573" creationId="{8A3B80BE-AE34-FA32-8608-D0985BC8EACA}"/>
          </ac:picMkLst>
        </pc:picChg>
        <pc:picChg chg="del mod topLvl">
          <ac:chgData name="Darius Kuddo" userId="da7555aa-d650-4d73-b00b-d01e713f1329" providerId="ADAL" clId="{9A4B509C-EEE7-485A-994E-5919214B754D}" dt="2025-02-20T01:38:51.224" v="1965" actId="478"/>
          <ac:picMkLst>
            <pc:docMk/>
            <pc:sldMk cId="3811477011" sldId="1728"/>
            <ac:picMk id="574" creationId="{9E63D41F-4278-1111-399C-1137475C64C6}"/>
          </ac:picMkLst>
        </pc:picChg>
        <pc:picChg chg="del mod topLvl">
          <ac:chgData name="Darius Kuddo" userId="da7555aa-d650-4d73-b00b-d01e713f1329" providerId="ADAL" clId="{9A4B509C-EEE7-485A-994E-5919214B754D}" dt="2025-02-20T01:38:51.224" v="1965" actId="478"/>
          <ac:picMkLst>
            <pc:docMk/>
            <pc:sldMk cId="3811477011" sldId="1728"/>
            <ac:picMk id="575" creationId="{79066A65-AC5C-4242-ABF7-B4BC0345FBBB}"/>
          </ac:picMkLst>
        </pc:picChg>
        <pc:picChg chg="del">
          <ac:chgData name="Darius Kuddo" userId="da7555aa-d650-4d73-b00b-d01e713f1329" providerId="ADAL" clId="{9A4B509C-EEE7-485A-994E-5919214B754D}" dt="2025-02-20T01:38:51.224" v="1965" actId="478"/>
          <ac:picMkLst>
            <pc:docMk/>
            <pc:sldMk cId="3811477011" sldId="1728"/>
            <ac:picMk id="1026" creationId="{6132779A-EF47-0A38-1E66-2393F0388C4B}"/>
          </ac:picMkLst>
        </pc:picChg>
        <pc:picChg chg="del">
          <ac:chgData name="Darius Kuddo" userId="da7555aa-d650-4d73-b00b-d01e713f1329" providerId="ADAL" clId="{9A4B509C-EEE7-485A-994E-5919214B754D}" dt="2025-02-20T01:38:51.224" v="1965" actId="478"/>
          <ac:picMkLst>
            <pc:docMk/>
            <pc:sldMk cId="3811477011" sldId="1728"/>
            <ac:picMk id="1028" creationId="{392B65EF-945D-0C80-80E7-F16EC8AC7DA0}"/>
          </ac:picMkLst>
        </pc:picChg>
        <pc:picChg chg="del">
          <ac:chgData name="Darius Kuddo" userId="da7555aa-d650-4d73-b00b-d01e713f1329" providerId="ADAL" clId="{9A4B509C-EEE7-485A-994E-5919214B754D}" dt="2025-02-20T01:38:51.224" v="1965" actId="478"/>
          <ac:picMkLst>
            <pc:docMk/>
            <pc:sldMk cId="3811477011" sldId="1728"/>
            <ac:picMk id="1030" creationId="{13772DF3-D633-5E5B-E799-6345518386DD}"/>
          </ac:picMkLst>
        </pc:picChg>
        <pc:picChg chg="del mod topLvl">
          <ac:chgData name="Darius Kuddo" userId="da7555aa-d650-4d73-b00b-d01e713f1329" providerId="ADAL" clId="{9A4B509C-EEE7-485A-994E-5919214B754D}" dt="2025-02-20T01:38:51.224" v="1965" actId="478"/>
          <ac:picMkLst>
            <pc:docMk/>
            <pc:sldMk cId="3811477011" sldId="1728"/>
            <ac:picMk id="1032" creationId="{F0348735-7061-25A1-7995-6B7B2B0EF1F3}"/>
          </ac:picMkLst>
        </pc:picChg>
        <pc:picChg chg="del mod topLvl">
          <ac:chgData name="Darius Kuddo" userId="da7555aa-d650-4d73-b00b-d01e713f1329" providerId="ADAL" clId="{9A4B509C-EEE7-485A-994E-5919214B754D}" dt="2025-02-20T01:38:51.224" v="1965" actId="478"/>
          <ac:picMkLst>
            <pc:docMk/>
            <pc:sldMk cId="3811477011" sldId="1728"/>
            <ac:picMk id="1034" creationId="{DFA1E0E1-3524-2EEA-9730-D7F19A6AECBE}"/>
          </ac:picMkLst>
        </pc:picChg>
        <pc:picChg chg="del">
          <ac:chgData name="Darius Kuddo" userId="da7555aa-d650-4d73-b00b-d01e713f1329" providerId="ADAL" clId="{9A4B509C-EEE7-485A-994E-5919214B754D}" dt="2025-02-20T01:38:51.224" v="1965" actId="478"/>
          <ac:picMkLst>
            <pc:docMk/>
            <pc:sldMk cId="3811477011" sldId="1728"/>
            <ac:picMk id="1036" creationId="{273DEFC8-284A-50A4-BE14-0F0E7722A5BF}"/>
          </ac:picMkLst>
        </pc:picChg>
        <pc:picChg chg="del">
          <ac:chgData name="Darius Kuddo" userId="da7555aa-d650-4d73-b00b-d01e713f1329" providerId="ADAL" clId="{9A4B509C-EEE7-485A-994E-5919214B754D}" dt="2025-02-20T01:38:51.224" v="1965" actId="478"/>
          <ac:picMkLst>
            <pc:docMk/>
            <pc:sldMk cId="3811477011" sldId="1728"/>
            <ac:picMk id="1038" creationId="{6F66DC3E-5973-430A-F05B-3F68675F67EF}"/>
          </ac:picMkLst>
        </pc:picChg>
        <pc:picChg chg="del">
          <ac:chgData name="Darius Kuddo" userId="da7555aa-d650-4d73-b00b-d01e713f1329" providerId="ADAL" clId="{9A4B509C-EEE7-485A-994E-5919214B754D}" dt="2025-02-20T01:38:51.224" v="1965" actId="478"/>
          <ac:picMkLst>
            <pc:docMk/>
            <pc:sldMk cId="3811477011" sldId="1728"/>
            <ac:picMk id="1040" creationId="{BBE00C98-2A6F-2B10-EE78-2AA1E8F4D699}"/>
          </ac:picMkLst>
        </pc:picChg>
        <pc:picChg chg="del">
          <ac:chgData name="Darius Kuddo" userId="da7555aa-d650-4d73-b00b-d01e713f1329" providerId="ADAL" clId="{9A4B509C-EEE7-485A-994E-5919214B754D}" dt="2025-02-20T01:38:51.224" v="1965" actId="478"/>
          <ac:picMkLst>
            <pc:docMk/>
            <pc:sldMk cId="3811477011" sldId="1728"/>
            <ac:picMk id="1042" creationId="{A660FB5D-F42D-5D4E-9F6B-4013154FC256}"/>
          </ac:picMkLst>
        </pc:picChg>
      </pc:sldChg>
      <pc:sldChg chg="addSp delSp modSp add mod">
        <pc:chgData name="Darius Kuddo" userId="da7555aa-d650-4d73-b00b-d01e713f1329" providerId="ADAL" clId="{9A4B509C-EEE7-485A-994E-5919214B754D}" dt="2025-02-20T02:28:46.718" v="4604"/>
        <pc:sldMkLst>
          <pc:docMk/>
          <pc:sldMk cId="1682521381" sldId="1729"/>
        </pc:sldMkLst>
        <pc:spChg chg="add del mod">
          <ac:chgData name="Darius Kuddo" userId="da7555aa-d650-4d73-b00b-d01e713f1329" providerId="ADAL" clId="{9A4B509C-EEE7-485A-994E-5919214B754D}" dt="2025-02-20T01:46:11.572" v="2186" actId="478"/>
          <ac:spMkLst>
            <pc:docMk/>
            <pc:sldMk cId="1682521381" sldId="1729"/>
            <ac:spMk id="3" creationId="{6D59108C-72C9-C246-8089-AE6A6783E3FB}"/>
          </ac:spMkLst>
        </pc:spChg>
        <pc:spChg chg="mod">
          <ac:chgData name="Darius Kuddo" userId="da7555aa-d650-4d73-b00b-d01e713f1329" providerId="ADAL" clId="{9A4B509C-EEE7-485A-994E-5919214B754D}" dt="2025-02-20T01:42:07.616" v="2012" actId="554"/>
          <ac:spMkLst>
            <pc:docMk/>
            <pc:sldMk cId="1682521381" sldId="1729"/>
            <ac:spMk id="7" creationId="{D64A55D9-384D-7A7F-CE20-9F022AD22EE0}"/>
          </ac:spMkLst>
        </pc:spChg>
        <pc:spChg chg="mod">
          <ac:chgData name="Darius Kuddo" userId="da7555aa-d650-4d73-b00b-d01e713f1329" providerId="ADAL" clId="{9A4B509C-EEE7-485A-994E-5919214B754D}" dt="2025-02-20T01:42:07.616" v="2012" actId="554"/>
          <ac:spMkLst>
            <pc:docMk/>
            <pc:sldMk cId="1682521381" sldId="1729"/>
            <ac:spMk id="8" creationId="{D00B4CD0-8401-11C0-298F-0F4CFD54F8DA}"/>
          </ac:spMkLst>
        </pc:spChg>
        <pc:spChg chg="mod">
          <ac:chgData name="Darius Kuddo" userId="da7555aa-d650-4d73-b00b-d01e713f1329" providerId="ADAL" clId="{9A4B509C-EEE7-485A-994E-5919214B754D}" dt="2025-02-20T01:42:07.616" v="2012" actId="554"/>
          <ac:spMkLst>
            <pc:docMk/>
            <pc:sldMk cId="1682521381" sldId="1729"/>
            <ac:spMk id="9" creationId="{F0EBF138-5F79-A8F2-9C02-B7CE1CE91079}"/>
          </ac:spMkLst>
        </pc:spChg>
        <pc:spChg chg="mod">
          <ac:chgData name="Darius Kuddo" userId="da7555aa-d650-4d73-b00b-d01e713f1329" providerId="ADAL" clId="{9A4B509C-EEE7-485A-994E-5919214B754D}" dt="2025-02-20T01:42:07.616" v="2012" actId="554"/>
          <ac:spMkLst>
            <pc:docMk/>
            <pc:sldMk cId="1682521381" sldId="1729"/>
            <ac:spMk id="10" creationId="{C816B49C-4B8E-0D7B-E9A1-1E2B938A28CD}"/>
          </ac:spMkLst>
        </pc:spChg>
        <pc:spChg chg="mod">
          <ac:chgData name="Darius Kuddo" userId="da7555aa-d650-4d73-b00b-d01e713f1329" providerId="ADAL" clId="{9A4B509C-EEE7-485A-994E-5919214B754D}" dt="2025-02-20T01:42:07.616" v="2012" actId="554"/>
          <ac:spMkLst>
            <pc:docMk/>
            <pc:sldMk cId="1682521381" sldId="1729"/>
            <ac:spMk id="11" creationId="{F48DF220-1DC2-2816-F560-259C5AE8A063}"/>
          </ac:spMkLst>
        </pc:spChg>
        <pc:spChg chg="add del mod">
          <ac:chgData name="Darius Kuddo" userId="da7555aa-d650-4d73-b00b-d01e713f1329" providerId="ADAL" clId="{9A4B509C-EEE7-485A-994E-5919214B754D}" dt="2025-02-20T01:46:11.572" v="2186" actId="478"/>
          <ac:spMkLst>
            <pc:docMk/>
            <pc:sldMk cId="1682521381" sldId="1729"/>
            <ac:spMk id="14" creationId="{16932ED2-6476-6B13-B749-A6DFECA1B6A0}"/>
          </ac:spMkLst>
        </pc:spChg>
        <pc:spChg chg="add del mod">
          <ac:chgData name="Darius Kuddo" userId="da7555aa-d650-4d73-b00b-d01e713f1329" providerId="ADAL" clId="{9A4B509C-EEE7-485A-994E-5919214B754D}" dt="2025-02-20T01:46:11.572" v="2186" actId="478"/>
          <ac:spMkLst>
            <pc:docMk/>
            <pc:sldMk cId="1682521381" sldId="1729"/>
            <ac:spMk id="15" creationId="{C1F2AC46-A511-F00D-3530-2A5157EAC20F}"/>
          </ac:spMkLst>
        </pc:spChg>
        <pc:spChg chg="mod topLvl">
          <ac:chgData name="Darius Kuddo" userId="da7555aa-d650-4d73-b00b-d01e713f1329" providerId="ADAL" clId="{9A4B509C-EEE7-485A-994E-5919214B754D}" dt="2025-02-20T01:43:42.568" v="2053" actId="1076"/>
          <ac:spMkLst>
            <pc:docMk/>
            <pc:sldMk cId="1682521381" sldId="1729"/>
            <ac:spMk id="22" creationId="{61A39843-B5BB-FA50-9008-6927BBD20F7B}"/>
          </ac:spMkLst>
        </pc:spChg>
        <pc:spChg chg="mod topLvl">
          <ac:chgData name="Darius Kuddo" userId="da7555aa-d650-4d73-b00b-d01e713f1329" providerId="ADAL" clId="{9A4B509C-EEE7-485A-994E-5919214B754D}" dt="2025-02-20T01:43:42.568" v="2053" actId="1076"/>
          <ac:spMkLst>
            <pc:docMk/>
            <pc:sldMk cId="1682521381" sldId="1729"/>
            <ac:spMk id="23" creationId="{45DC7B02-0F3A-E5E7-B11D-34332DBB5170}"/>
          </ac:spMkLst>
        </pc:spChg>
        <pc:spChg chg="mod topLvl">
          <ac:chgData name="Darius Kuddo" userId="da7555aa-d650-4d73-b00b-d01e713f1329" providerId="ADAL" clId="{9A4B509C-EEE7-485A-994E-5919214B754D}" dt="2025-02-20T01:43:42.568" v="2053" actId="1076"/>
          <ac:spMkLst>
            <pc:docMk/>
            <pc:sldMk cId="1682521381" sldId="1729"/>
            <ac:spMk id="24" creationId="{739557A9-9BF7-5493-8547-FBE99A159E76}"/>
          </ac:spMkLst>
        </pc:spChg>
        <pc:spChg chg="mod topLvl">
          <ac:chgData name="Darius Kuddo" userId="da7555aa-d650-4d73-b00b-d01e713f1329" providerId="ADAL" clId="{9A4B509C-EEE7-485A-994E-5919214B754D}" dt="2025-02-20T01:43:42.568" v="2053" actId="1076"/>
          <ac:spMkLst>
            <pc:docMk/>
            <pc:sldMk cId="1682521381" sldId="1729"/>
            <ac:spMk id="30" creationId="{99DE8F79-C55E-616C-A7BC-75B7D8DF00F0}"/>
          </ac:spMkLst>
        </pc:spChg>
        <pc:spChg chg="del mod ord">
          <ac:chgData name="Darius Kuddo" userId="da7555aa-d650-4d73-b00b-d01e713f1329" providerId="ADAL" clId="{9A4B509C-EEE7-485A-994E-5919214B754D}" dt="2025-02-20T01:41:17.202" v="2006" actId="478"/>
          <ac:spMkLst>
            <pc:docMk/>
            <pc:sldMk cId="1682521381" sldId="1729"/>
            <ac:spMk id="32" creationId="{280606D2-4FDE-1E65-A679-4311DA1DE34F}"/>
          </ac:spMkLst>
        </pc:spChg>
        <pc:spChg chg="del">
          <ac:chgData name="Darius Kuddo" userId="da7555aa-d650-4d73-b00b-d01e713f1329" providerId="ADAL" clId="{9A4B509C-EEE7-485A-994E-5919214B754D}" dt="2025-02-20T01:41:17.202" v="2006" actId="478"/>
          <ac:spMkLst>
            <pc:docMk/>
            <pc:sldMk cId="1682521381" sldId="1729"/>
            <ac:spMk id="33" creationId="{403D7BB6-6BA8-A4E5-E842-482B1008E8AD}"/>
          </ac:spMkLst>
        </pc:spChg>
        <pc:spChg chg="del">
          <ac:chgData name="Darius Kuddo" userId="da7555aa-d650-4d73-b00b-d01e713f1329" providerId="ADAL" clId="{9A4B509C-EEE7-485A-994E-5919214B754D}" dt="2025-02-20T01:41:17.202" v="2006" actId="478"/>
          <ac:spMkLst>
            <pc:docMk/>
            <pc:sldMk cId="1682521381" sldId="1729"/>
            <ac:spMk id="34" creationId="{AD87805F-2EEF-95B5-C674-D28253522BF4}"/>
          </ac:spMkLst>
        </pc:spChg>
        <pc:spChg chg="mod topLvl">
          <ac:chgData name="Darius Kuddo" userId="da7555aa-d650-4d73-b00b-d01e713f1329" providerId="ADAL" clId="{9A4B509C-EEE7-485A-994E-5919214B754D}" dt="2025-02-20T01:43:42.568" v="2053" actId="1076"/>
          <ac:spMkLst>
            <pc:docMk/>
            <pc:sldMk cId="1682521381" sldId="1729"/>
            <ac:spMk id="36" creationId="{8C085B58-CD1C-CCEC-EF86-F12CB57A92B2}"/>
          </ac:spMkLst>
        </pc:spChg>
        <pc:spChg chg="mod topLvl">
          <ac:chgData name="Darius Kuddo" userId="da7555aa-d650-4d73-b00b-d01e713f1329" providerId="ADAL" clId="{9A4B509C-EEE7-485A-994E-5919214B754D}" dt="2025-02-20T01:43:42.568" v="2053" actId="1076"/>
          <ac:spMkLst>
            <pc:docMk/>
            <pc:sldMk cId="1682521381" sldId="1729"/>
            <ac:spMk id="39" creationId="{F12B5D46-4C15-A083-600A-C9FD891C80BD}"/>
          </ac:spMkLst>
        </pc:spChg>
        <pc:spChg chg="mod topLvl">
          <ac:chgData name="Darius Kuddo" userId="da7555aa-d650-4d73-b00b-d01e713f1329" providerId="ADAL" clId="{9A4B509C-EEE7-485A-994E-5919214B754D}" dt="2025-02-20T01:43:42.568" v="2053" actId="1076"/>
          <ac:spMkLst>
            <pc:docMk/>
            <pc:sldMk cId="1682521381" sldId="1729"/>
            <ac:spMk id="40" creationId="{1DD75749-CEE1-31E8-1131-DC0A0B0FC517}"/>
          </ac:spMkLst>
        </pc:spChg>
        <pc:spChg chg="mod ord">
          <ac:chgData name="Darius Kuddo" userId="da7555aa-d650-4d73-b00b-d01e713f1329" providerId="ADAL" clId="{9A4B509C-EEE7-485A-994E-5919214B754D}" dt="2025-02-20T01:55:55.885" v="2227" actId="14861"/>
          <ac:spMkLst>
            <pc:docMk/>
            <pc:sldMk cId="1682521381" sldId="1729"/>
            <ac:spMk id="44" creationId="{10F3B85D-6811-9EDE-EFBC-F4F10E1CDFA4}"/>
          </ac:spMkLst>
        </pc:spChg>
        <pc:spChg chg="del">
          <ac:chgData name="Darius Kuddo" userId="da7555aa-d650-4d73-b00b-d01e713f1329" providerId="ADAL" clId="{9A4B509C-EEE7-485A-994E-5919214B754D}" dt="2025-02-20T01:54:50.507" v="2223" actId="478"/>
          <ac:spMkLst>
            <pc:docMk/>
            <pc:sldMk cId="1682521381" sldId="1729"/>
            <ac:spMk id="47" creationId="{24854C5C-E0FB-691A-ECCC-442D2C80C66B}"/>
          </ac:spMkLst>
        </pc:spChg>
        <pc:spChg chg="mod ord">
          <ac:chgData name="Darius Kuddo" userId="da7555aa-d650-4d73-b00b-d01e713f1329" providerId="ADAL" clId="{9A4B509C-EEE7-485A-994E-5919214B754D}" dt="2025-02-20T01:55:55.885" v="2227" actId="14861"/>
          <ac:spMkLst>
            <pc:docMk/>
            <pc:sldMk cId="1682521381" sldId="1729"/>
            <ac:spMk id="53" creationId="{476A498B-8628-14A4-3271-747F6E1EA61B}"/>
          </ac:spMkLst>
        </pc:spChg>
        <pc:spChg chg="mod ord topLvl">
          <ac:chgData name="Darius Kuddo" userId="da7555aa-d650-4d73-b00b-d01e713f1329" providerId="ADAL" clId="{9A4B509C-EEE7-485A-994E-5919214B754D}" dt="2025-02-20T01:55:55.885" v="2227" actId="14861"/>
          <ac:spMkLst>
            <pc:docMk/>
            <pc:sldMk cId="1682521381" sldId="1729"/>
            <ac:spMk id="59" creationId="{8A74A2C5-3D0D-3D46-A565-35432E5E681F}"/>
          </ac:spMkLst>
        </pc:spChg>
        <pc:spChg chg="mod topLvl">
          <ac:chgData name="Darius Kuddo" userId="da7555aa-d650-4d73-b00b-d01e713f1329" providerId="ADAL" clId="{9A4B509C-EEE7-485A-994E-5919214B754D}" dt="2025-02-20T01:54:19.083" v="2221" actId="165"/>
          <ac:spMkLst>
            <pc:docMk/>
            <pc:sldMk cId="1682521381" sldId="1729"/>
            <ac:spMk id="60" creationId="{959710A9-F7ED-A1ED-5232-DC1A06F0B3B8}"/>
          </ac:spMkLst>
        </pc:spChg>
        <pc:spChg chg="del mod topLvl">
          <ac:chgData name="Darius Kuddo" userId="da7555aa-d650-4d73-b00b-d01e713f1329" providerId="ADAL" clId="{9A4B509C-EEE7-485A-994E-5919214B754D}" dt="2025-02-20T01:54:50.507" v="2223" actId="478"/>
          <ac:spMkLst>
            <pc:docMk/>
            <pc:sldMk cId="1682521381" sldId="1729"/>
            <ac:spMk id="61" creationId="{1781D416-0DEE-AC90-4102-86901BD63D14}"/>
          </ac:spMkLst>
        </pc:spChg>
        <pc:spChg chg="del">
          <ac:chgData name="Darius Kuddo" userId="da7555aa-d650-4d73-b00b-d01e713f1329" providerId="ADAL" clId="{9A4B509C-EEE7-485A-994E-5919214B754D}" dt="2025-02-20T01:54:50.507" v="2223" actId="478"/>
          <ac:spMkLst>
            <pc:docMk/>
            <pc:sldMk cId="1682521381" sldId="1729"/>
            <ac:spMk id="62" creationId="{AE198B63-778A-254C-EF4F-853665EF572F}"/>
          </ac:spMkLst>
        </pc:spChg>
        <pc:spChg chg="mod ord">
          <ac:chgData name="Darius Kuddo" userId="da7555aa-d650-4d73-b00b-d01e713f1329" providerId="ADAL" clId="{9A4B509C-EEE7-485A-994E-5919214B754D}" dt="2025-02-20T01:55:55.885" v="2227" actId="14861"/>
          <ac:spMkLst>
            <pc:docMk/>
            <pc:sldMk cId="1682521381" sldId="1729"/>
            <ac:spMk id="64" creationId="{C106988D-8E50-F58D-FC5A-692AA42ED011}"/>
          </ac:spMkLst>
        </pc:spChg>
        <pc:spChg chg="del">
          <ac:chgData name="Darius Kuddo" userId="da7555aa-d650-4d73-b00b-d01e713f1329" providerId="ADAL" clId="{9A4B509C-EEE7-485A-994E-5919214B754D}" dt="2025-02-20T01:54:50.507" v="2223" actId="478"/>
          <ac:spMkLst>
            <pc:docMk/>
            <pc:sldMk cId="1682521381" sldId="1729"/>
            <ac:spMk id="66" creationId="{9EBC7362-1146-461A-A698-02E9AA0F3E97}"/>
          </ac:spMkLst>
        </pc:spChg>
        <pc:spChg chg="add mod ord">
          <ac:chgData name="Darius Kuddo" userId="da7555aa-d650-4d73-b00b-d01e713f1329" providerId="ADAL" clId="{9A4B509C-EEE7-485A-994E-5919214B754D}" dt="2025-02-20T01:46:04.868" v="2182" actId="167"/>
          <ac:spMkLst>
            <pc:docMk/>
            <pc:sldMk cId="1682521381" sldId="1729"/>
            <ac:spMk id="70" creationId="{815BA231-DBC0-9308-2591-4DA50BFF46E4}"/>
          </ac:spMkLst>
        </pc:spChg>
        <pc:spChg chg="mod ord">
          <ac:chgData name="Darius Kuddo" userId="da7555aa-d650-4d73-b00b-d01e713f1329" providerId="ADAL" clId="{9A4B509C-EEE7-485A-994E-5919214B754D}" dt="2025-02-20T01:55:55.885" v="2227" actId="14861"/>
          <ac:spMkLst>
            <pc:docMk/>
            <pc:sldMk cId="1682521381" sldId="1729"/>
            <ac:spMk id="72" creationId="{D2BE5E46-AC73-6577-D80F-015D92443ECE}"/>
          </ac:spMkLst>
        </pc:spChg>
        <pc:spChg chg="del mod">
          <ac:chgData name="Darius Kuddo" userId="da7555aa-d650-4d73-b00b-d01e713f1329" providerId="ADAL" clId="{9A4B509C-EEE7-485A-994E-5919214B754D}" dt="2025-02-20T01:39:59.488" v="1993" actId="478"/>
          <ac:spMkLst>
            <pc:docMk/>
            <pc:sldMk cId="1682521381" sldId="1729"/>
            <ac:spMk id="76" creationId="{CFF65FA3-C23B-BCD6-8085-0222B65988CA}"/>
          </ac:spMkLst>
        </pc:spChg>
        <pc:spChg chg="del">
          <ac:chgData name="Darius Kuddo" userId="da7555aa-d650-4d73-b00b-d01e713f1329" providerId="ADAL" clId="{9A4B509C-EEE7-485A-994E-5919214B754D}" dt="2025-02-20T01:54:50.507" v="2223" actId="478"/>
          <ac:spMkLst>
            <pc:docMk/>
            <pc:sldMk cId="1682521381" sldId="1729"/>
            <ac:spMk id="78" creationId="{122AF4CC-D412-008E-7D6B-4210F284A002}"/>
          </ac:spMkLst>
        </pc:spChg>
        <pc:spChg chg="mod topLvl">
          <ac:chgData name="Darius Kuddo" userId="da7555aa-d650-4d73-b00b-d01e713f1329" providerId="ADAL" clId="{9A4B509C-EEE7-485A-994E-5919214B754D}" dt="2025-02-20T01:43:16.254" v="2042" actId="165"/>
          <ac:spMkLst>
            <pc:docMk/>
            <pc:sldMk cId="1682521381" sldId="1729"/>
            <ac:spMk id="81" creationId="{F64A84A1-2B8C-4FB0-34CE-5769BB7D4611}"/>
          </ac:spMkLst>
        </pc:spChg>
        <pc:spChg chg="mod ord topLvl">
          <ac:chgData name="Darius Kuddo" userId="da7555aa-d650-4d73-b00b-d01e713f1329" providerId="ADAL" clId="{9A4B509C-EEE7-485A-994E-5919214B754D}" dt="2025-02-20T01:55:55.885" v="2227" actId="14861"/>
          <ac:spMkLst>
            <pc:docMk/>
            <pc:sldMk cId="1682521381" sldId="1729"/>
            <ac:spMk id="82" creationId="{A8415478-1D93-ACD8-4655-90025B34E76F}"/>
          </ac:spMkLst>
        </pc:spChg>
        <pc:spChg chg="mod topLvl">
          <ac:chgData name="Darius Kuddo" userId="da7555aa-d650-4d73-b00b-d01e713f1329" providerId="ADAL" clId="{9A4B509C-EEE7-485A-994E-5919214B754D}" dt="2025-02-20T01:43:45.850" v="2054" actId="164"/>
          <ac:spMkLst>
            <pc:docMk/>
            <pc:sldMk cId="1682521381" sldId="1729"/>
            <ac:spMk id="83" creationId="{2EF0E177-1D57-ACA3-6202-3558B0497580}"/>
          </ac:spMkLst>
        </pc:spChg>
        <pc:spChg chg="del mod topLvl">
          <ac:chgData name="Darius Kuddo" userId="da7555aa-d650-4d73-b00b-d01e713f1329" providerId="ADAL" clId="{9A4B509C-EEE7-485A-994E-5919214B754D}" dt="2025-02-20T01:54:50.507" v="2223" actId="478"/>
          <ac:spMkLst>
            <pc:docMk/>
            <pc:sldMk cId="1682521381" sldId="1729"/>
            <ac:spMk id="84" creationId="{0450D0D2-7235-0643-74AD-9FC4092C2B3D}"/>
          </ac:spMkLst>
        </pc:spChg>
        <pc:spChg chg="mod ord topLvl">
          <ac:chgData name="Darius Kuddo" userId="da7555aa-d650-4d73-b00b-d01e713f1329" providerId="ADAL" clId="{9A4B509C-EEE7-485A-994E-5919214B754D}" dt="2025-02-20T01:55:55.885" v="2227" actId="14861"/>
          <ac:spMkLst>
            <pc:docMk/>
            <pc:sldMk cId="1682521381" sldId="1729"/>
            <ac:spMk id="85" creationId="{6E4BCF90-BEAA-251A-800A-65AE250E1948}"/>
          </ac:spMkLst>
        </pc:spChg>
        <pc:spChg chg="mod topLvl">
          <ac:chgData name="Darius Kuddo" userId="da7555aa-d650-4d73-b00b-d01e713f1329" providerId="ADAL" clId="{9A4B509C-EEE7-485A-994E-5919214B754D}" dt="2025-02-20T01:43:16.254" v="2042" actId="165"/>
          <ac:spMkLst>
            <pc:docMk/>
            <pc:sldMk cId="1682521381" sldId="1729"/>
            <ac:spMk id="86" creationId="{AA6871D5-D37F-99B0-B5C8-8460A732575F}"/>
          </ac:spMkLst>
        </pc:spChg>
        <pc:spChg chg="del mod topLvl">
          <ac:chgData name="Darius Kuddo" userId="da7555aa-d650-4d73-b00b-d01e713f1329" providerId="ADAL" clId="{9A4B509C-EEE7-485A-994E-5919214B754D}" dt="2025-02-20T01:54:50.507" v="2223" actId="478"/>
          <ac:spMkLst>
            <pc:docMk/>
            <pc:sldMk cId="1682521381" sldId="1729"/>
            <ac:spMk id="87" creationId="{4ADB44CB-3DF2-49BF-E701-EA765CB037F5}"/>
          </ac:spMkLst>
        </pc:spChg>
        <pc:spChg chg="mod topLvl">
          <ac:chgData name="Darius Kuddo" userId="da7555aa-d650-4d73-b00b-d01e713f1329" providerId="ADAL" clId="{9A4B509C-EEE7-485A-994E-5919214B754D}" dt="2025-02-20T01:54:19.083" v="2221" actId="165"/>
          <ac:spMkLst>
            <pc:docMk/>
            <pc:sldMk cId="1682521381" sldId="1729"/>
            <ac:spMk id="97" creationId="{79645A11-AE2E-5F04-822D-1AB2A112D5BF}"/>
          </ac:spMkLst>
        </pc:spChg>
        <pc:spChg chg="del mod topLvl">
          <ac:chgData name="Darius Kuddo" userId="da7555aa-d650-4d73-b00b-d01e713f1329" providerId="ADAL" clId="{9A4B509C-EEE7-485A-994E-5919214B754D}" dt="2025-02-20T01:54:50.507" v="2223" actId="478"/>
          <ac:spMkLst>
            <pc:docMk/>
            <pc:sldMk cId="1682521381" sldId="1729"/>
            <ac:spMk id="99" creationId="{A5CE087B-13D7-E1D5-7CBF-93FC865B2AC9}"/>
          </ac:spMkLst>
        </pc:spChg>
        <pc:spChg chg="mod topLvl">
          <ac:chgData name="Darius Kuddo" userId="da7555aa-d650-4d73-b00b-d01e713f1329" providerId="ADAL" clId="{9A4B509C-EEE7-485A-994E-5919214B754D}" dt="2025-02-20T01:54:19.083" v="2221" actId="165"/>
          <ac:spMkLst>
            <pc:docMk/>
            <pc:sldMk cId="1682521381" sldId="1729"/>
            <ac:spMk id="100" creationId="{3DE6DF28-4B93-9AED-C2DF-6FC941F2208E}"/>
          </ac:spMkLst>
        </pc:spChg>
        <pc:spChg chg="mod ord topLvl">
          <ac:chgData name="Darius Kuddo" userId="da7555aa-d650-4d73-b00b-d01e713f1329" providerId="ADAL" clId="{9A4B509C-EEE7-485A-994E-5919214B754D}" dt="2025-02-20T01:55:55.885" v="2227" actId="14861"/>
          <ac:spMkLst>
            <pc:docMk/>
            <pc:sldMk cId="1682521381" sldId="1729"/>
            <ac:spMk id="106" creationId="{2265024A-0639-3528-4357-6352CDA38B08}"/>
          </ac:spMkLst>
        </pc:spChg>
        <pc:spChg chg="mod topLvl">
          <ac:chgData name="Darius Kuddo" userId="da7555aa-d650-4d73-b00b-d01e713f1329" providerId="ADAL" clId="{9A4B509C-EEE7-485A-994E-5919214B754D}" dt="2025-02-20T01:54:33.458" v="2222" actId="165"/>
          <ac:spMkLst>
            <pc:docMk/>
            <pc:sldMk cId="1682521381" sldId="1729"/>
            <ac:spMk id="110" creationId="{64514743-B605-9AB1-F88B-82BBFD4C63A1}"/>
          </ac:spMkLst>
        </pc:spChg>
        <pc:spChg chg="mod ord topLvl">
          <ac:chgData name="Darius Kuddo" userId="da7555aa-d650-4d73-b00b-d01e713f1329" providerId="ADAL" clId="{9A4B509C-EEE7-485A-994E-5919214B754D}" dt="2025-02-20T01:55:55.885" v="2227" actId="14861"/>
          <ac:spMkLst>
            <pc:docMk/>
            <pc:sldMk cId="1682521381" sldId="1729"/>
            <ac:spMk id="111" creationId="{480B0318-1947-3D96-E219-006741C5A130}"/>
          </ac:spMkLst>
        </pc:spChg>
        <pc:spChg chg="mod topLvl">
          <ac:chgData name="Darius Kuddo" userId="da7555aa-d650-4d73-b00b-d01e713f1329" providerId="ADAL" clId="{9A4B509C-EEE7-485A-994E-5919214B754D}" dt="2025-02-20T01:54:33.458" v="2222" actId="165"/>
          <ac:spMkLst>
            <pc:docMk/>
            <pc:sldMk cId="1682521381" sldId="1729"/>
            <ac:spMk id="112" creationId="{9D358056-7E32-CF7B-F1A2-FC8D2DBB6966}"/>
          </ac:spMkLst>
        </pc:spChg>
        <pc:spChg chg="del mod topLvl">
          <ac:chgData name="Darius Kuddo" userId="da7555aa-d650-4d73-b00b-d01e713f1329" providerId="ADAL" clId="{9A4B509C-EEE7-485A-994E-5919214B754D}" dt="2025-02-20T01:54:50.507" v="2223" actId="478"/>
          <ac:spMkLst>
            <pc:docMk/>
            <pc:sldMk cId="1682521381" sldId="1729"/>
            <ac:spMk id="113" creationId="{1F858C96-D10D-3801-471E-51039D465DE4}"/>
          </ac:spMkLst>
        </pc:spChg>
        <pc:spChg chg="mod ord topLvl">
          <ac:chgData name="Darius Kuddo" userId="da7555aa-d650-4d73-b00b-d01e713f1329" providerId="ADAL" clId="{9A4B509C-EEE7-485A-994E-5919214B754D}" dt="2025-02-20T01:55:55.885" v="2227" actId="14861"/>
          <ac:spMkLst>
            <pc:docMk/>
            <pc:sldMk cId="1682521381" sldId="1729"/>
            <ac:spMk id="118" creationId="{3F2706BD-BB53-2ADF-1DE5-62747DACAC03}"/>
          </ac:spMkLst>
        </pc:spChg>
        <pc:spChg chg="mod topLvl">
          <ac:chgData name="Darius Kuddo" userId="da7555aa-d650-4d73-b00b-d01e713f1329" providerId="ADAL" clId="{9A4B509C-EEE7-485A-994E-5919214B754D}" dt="2025-02-20T01:54:19.083" v="2221" actId="165"/>
          <ac:spMkLst>
            <pc:docMk/>
            <pc:sldMk cId="1682521381" sldId="1729"/>
            <ac:spMk id="119" creationId="{01B10832-C9DD-B34A-9337-83EA175A370E}"/>
          </ac:spMkLst>
        </pc:spChg>
        <pc:spChg chg="del mod topLvl">
          <ac:chgData name="Darius Kuddo" userId="da7555aa-d650-4d73-b00b-d01e713f1329" providerId="ADAL" clId="{9A4B509C-EEE7-485A-994E-5919214B754D}" dt="2025-02-20T01:54:50.507" v="2223" actId="478"/>
          <ac:spMkLst>
            <pc:docMk/>
            <pc:sldMk cId="1682521381" sldId="1729"/>
            <ac:spMk id="120" creationId="{2D0D4FCF-7C27-25F3-F254-8FFB0D0E45DC}"/>
          </ac:spMkLst>
        </pc:spChg>
        <pc:spChg chg="mod ord">
          <ac:chgData name="Darius Kuddo" userId="da7555aa-d650-4d73-b00b-d01e713f1329" providerId="ADAL" clId="{9A4B509C-EEE7-485A-994E-5919214B754D}" dt="2025-02-20T01:55:55.885" v="2227" actId="14861"/>
          <ac:spMkLst>
            <pc:docMk/>
            <pc:sldMk cId="1682521381" sldId="1729"/>
            <ac:spMk id="127" creationId="{CD21BB76-7002-D183-A0AD-88AADA5C0B9E}"/>
          </ac:spMkLst>
        </pc:spChg>
        <pc:spChg chg="mod topLvl">
          <ac:chgData name="Darius Kuddo" userId="da7555aa-d650-4d73-b00b-d01e713f1329" providerId="ADAL" clId="{9A4B509C-EEE7-485A-994E-5919214B754D}" dt="2025-02-20T01:43:42.568" v="2053" actId="1076"/>
          <ac:spMkLst>
            <pc:docMk/>
            <pc:sldMk cId="1682521381" sldId="1729"/>
            <ac:spMk id="448" creationId="{F073816E-85D4-2E09-A9EF-122A4BB6BBD5}"/>
          </ac:spMkLst>
        </pc:spChg>
        <pc:spChg chg="mod ord">
          <ac:chgData name="Darius Kuddo" userId="da7555aa-d650-4d73-b00b-d01e713f1329" providerId="ADAL" clId="{9A4B509C-EEE7-485A-994E-5919214B754D}" dt="2025-02-20T01:55:55.885" v="2227" actId="14861"/>
          <ac:spMkLst>
            <pc:docMk/>
            <pc:sldMk cId="1682521381" sldId="1729"/>
            <ac:spMk id="451" creationId="{9A67DEE3-B856-180D-E4C3-2CA3B9DB951B}"/>
          </ac:spMkLst>
        </pc:spChg>
        <pc:spChg chg="mod topLvl">
          <ac:chgData name="Darius Kuddo" userId="da7555aa-d650-4d73-b00b-d01e713f1329" providerId="ADAL" clId="{9A4B509C-EEE7-485A-994E-5919214B754D}" dt="2025-02-20T01:43:42.568" v="2053" actId="1076"/>
          <ac:spMkLst>
            <pc:docMk/>
            <pc:sldMk cId="1682521381" sldId="1729"/>
            <ac:spMk id="452" creationId="{AD28254A-D343-5514-8157-229D8BBD46BC}"/>
          </ac:spMkLst>
        </pc:spChg>
        <pc:spChg chg="del">
          <ac:chgData name="Darius Kuddo" userId="da7555aa-d650-4d73-b00b-d01e713f1329" providerId="ADAL" clId="{9A4B509C-EEE7-485A-994E-5919214B754D}" dt="2025-02-20T01:54:50.507" v="2223" actId="478"/>
          <ac:spMkLst>
            <pc:docMk/>
            <pc:sldMk cId="1682521381" sldId="1729"/>
            <ac:spMk id="457" creationId="{C87D42EA-868B-E05A-D597-A1464327B5EF}"/>
          </ac:spMkLst>
        </pc:spChg>
        <pc:spChg chg="mod ord topLvl">
          <ac:chgData name="Darius Kuddo" userId="da7555aa-d650-4d73-b00b-d01e713f1329" providerId="ADAL" clId="{9A4B509C-EEE7-485A-994E-5919214B754D}" dt="2025-02-20T01:55:55.885" v="2227" actId="14861"/>
          <ac:spMkLst>
            <pc:docMk/>
            <pc:sldMk cId="1682521381" sldId="1729"/>
            <ac:spMk id="463" creationId="{CBB3D71A-1A20-28F7-2327-DBEEB66096C5}"/>
          </ac:spMkLst>
        </pc:spChg>
        <pc:spChg chg="mod ord">
          <ac:chgData name="Darius Kuddo" userId="da7555aa-d650-4d73-b00b-d01e713f1329" providerId="ADAL" clId="{9A4B509C-EEE7-485A-994E-5919214B754D}" dt="2025-02-20T01:55:55.885" v="2227" actId="14861"/>
          <ac:spMkLst>
            <pc:docMk/>
            <pc:sldMk cId="1682521381" sldId="1729"/>
            <ac:spMk id="464" creationId="{2AFF757A-B919-E030-B1AD-D83B2453F868}"/>
          </ac:spMkLst>
        </pc:spChg>
        <pc:spChg chg="del">
          <ac:chgData name="Darius Kuddo" userId="da7555aa-d650-4d73-b00b-d01e713f1329" providerId="ADAL" clId="{9A4B509C-EEE7-485A-994E-5919214B754D}" dt="2025-02-20T01:54:50.507" v="2223" actId="478"/>
          <ac:spMkLst>
            <pc:docMk/>
            <pc:sldMk cId="1682521381" sldId="1729"/>
            <ac:spMk id="466" creationId="{AF8F5E10-5C33-69FA-A391-C523E0DCD1C3}"/>
          </ac:spMkLst>
        </pc:spChg>
        <pc:spChg chg="mod topLvl">
          <ac:chgData name="Darius Kuddo" userId="da7555aa-d650-4d73-b00b-d01e713f1329" providerId="ADAL" clId="{9A4B509C-EEE7-485A-994E-5919214B754D}" dt="2025-02-20T01:55:55.885" v="2227" actId="14861"/>
          <ac:spMkLst>
            <pc:docMk/>
            <pc:sldMk cId="1682521381" sldId="1729"/>
            <ac:spMk id="468" creationId="{DDE8F498-92DD-CBBF-98A2-F666DB626EF1}"/>
          </ac:spMkLst>
        </pc:spChg>
        <pc:spChg chg="mod ord">
          <ac:chgData name="Darius Kuddo" userId="da7555aa-d650-4d73-b00b-d01e713f1329" providerId="ADAL" clId="{9A4B509C-EEE7-485A-994E-5919214B754D}" dt="2025-02-20T01:55:55.885" v="2227" actId="14861"/>
          <ac:spMkLst>
            <pc:docMk/>
            <pc:sldMk cId="1682521381" sldId="1729"/>
            <ac:spMk id="472" creationId="{4D79DCCA-0E79-EBD8-ED0C-A80547A59437}"/>
          </ac:spMkLst>
        </pc:spChg>
        <pc:spChg chg="del">
          <ac:chgData name="Darius Kuddo" userId="da7555aa-d650-4d73-b00b-d01e713f1329" providerId="ADAL" clId="{9A4B509C-EEE7-485A-994E-5919214B754D}" dt="2025-02-20T01:54:50.507" v="2223" actId="478"/>
          <ac:spMkLst>
            <pc:docMk/>
            <pc:sldMk cId="1682521381" sldId="1729"/>
            <ac:spMk id="474" creationId="{F5A68FB2-1A4B-AFFE-2BBF-068DA96B41CD}"/>
          </ac:spMkLst>
        </pc:spChg>
        <pc:spChg chg="mod topLvl">
          <ac:chgData name="Darius Kuddo" userId="da7555aa-d650-4d73-b00b-d01e713f1329" providerId="ADAL" clId="{9A4B509C-EEE7-485A-994E-5919214B754D}" dt="2025-02-20T01:44:25.165" v="2062" actId="165"/>
          <ac:spMkLst>
            <pc:docMk/>
            <pc:sldMk cId="1682521381" sldId="1729"/>
            <ac:spMk id="477" creationId="{C5C4177C-0C37-0042-FB56-46CB7AB06EF8}"/>
          </ac:spMkLst>
        </pc:spChg>
        <pc:spChg chg="del mod topLvl">
          <ac:chgData name="Darius Kuddo" userId="da7555aa-d650-4d73-b00b-d01e713f1329" providerId="ADAL" clId="{9A4B509C-EEE7-485A-994E-5919214B754D}" dt="2025-02-20T01:54:50.507" v="2223" actId="478"/>
          <ac:spMkLst>
            <pc:docMk/>
            <pc:sldMk cId="1682521381" sldId="1729"/>
            <ac:spMk id="478" creationId="{BEA9D6FD-207E-8C40-DA29-DFB664DAF3B3}"/>
          </ac:spMkLst>
        </pc:spChg>
        <pc:spChg chg="mod topLvl">
          <ac:chgData name="Darius Kuddo" userId="da7555aa-d650-4d73-b00b-d01e713f1329" providerId="ADAL" clId="{9A4B509C-EEE7-485A-994E-5919214B754D}" dt="2025-02-20T01:44:25.165" v="2062" actId="165"/>
          <ac:spMkLst>
            <pc:docMk/>
            <pc:sldMk cId="1682521381" sldId="1729"/>
            <ac:spMk id="483" creationId="{B1BCFFA4-BF28-3770-30F5-D6604A53DAA6}"/>
          </ac:spMkLst>
        </pc:spChg>
        <pc:spChg chg="mod ord">
          <ac:chgData name="Darius Kuddo" userId="da7555aa-d650-4d73-b00b-d01e713f1329" providerId="ADAL" clId="{9A4B509C-EEE7-485A-994E-5919214B754D}" dt="2025-02-20T01:55:55.885" v="2227" actId="14861"/>
          <ac:spMkLst>
            <pc:docMk/>
            <pc:sldMk cId="1682521381" sldId="1729"/>
            <ac:spMk id="487" creationId="{E56B5638-2379-2208-6817-BCCF45B22009}"/>
          </ac:spMkLst>
        </pc:spChg>
        <pc:spChg chg="del">
          <ac:chgData name="Darius Kuddo" userId="da7555aa-d650-4d73-b00b-d01e713f1329" providerId="ADAL" clId="{9A4B509C-EEE7-485A-994E-5919214B754D}" dt="2025-02-20T01:54:50.507" v="2223" actId="478"/>
          <ac:spMkLst>
            <pc:docMk/>
            <pc:sldMk cId="1682521381" sldId="1729"/>
            <ac:spMk id="489" creationId="{2FA0FD09-AF9E-8F8C-4C21-364059022078}"/>
          </ac:spMkLst>
        </pc:spChg>
        <pc:spChg chg="del mod topLvl">
          <ac:chgData name="Darius Kuddo" userId="da7555aa-d650-4d73-b00b-d01e713f1329" providerId="ADAL" clId="{9A4B509C-EEE7-485A-994E-5919214B754D}" dt="2025-02-20T01:54:50.507" v="2223" actId="478"/>
          <ac:spMkLst>
            <pc:docMk/>
            <pc:sldMk cId="1682521381" sldId="1729"/>
            <ac:spMk id="491" creationId="{AB6ACEB9-1C7F-E00A-458A-85C9332A270C}"/>
          </ac:spMkLst>
        </pc:spChg>
        <pc:spChg chg="mod topLvl">
          <ac:chgData name="Darius Kuddo" userId="da7555aa-d650-4d73-b00b-d01e713f1329" providerId="ADAL" clId="{9A4B509C-EEE7-485A-994E-5919214B754D}" dt="2025-02-20T01:55:55.885" v="2227" actId="14861"/>
          <ac:spMkLst>
            <pc:docMk/>
            <pc:sldMk cId="1682521381" sldId="1729"/>
            <ac:spMk id="493" creationId="{4A8ACA0C-303D-EAB3-6399-DDEC7501D0D2}"/>
          </ac:spMkLst>
        </pc:spChg>
        <pc:spChg chg="mod ord">
          <ac:chgData name="Darius Kuddo" userId="da7555aa-d650-4d73-b00b-d01e713f1329" providerId="ADAL" clId="{9A4B509C-EEE7-485A-994E-5919214B754D}" dt="2025-02-20T01:55:55.885" v="2227" actId="14861"/>
          <ac:spMkLst>
            <pc:docMk/>
            <pc:sldMk cId="1682521381" sldId="1729"/>
            <ac:spMk id="494" creationId="{42B24C00-C985-037B-CF30-D6FE3D47C835}"/>
          </ac:spMkLst>
        </pc:spChg>
        <pc:spChg chg="del">
          <ac:chgData name="Darius Kuddo" userId="da7555aa-d650-4d73-b00b-d01e713f1329" providerId="ADAL" clId="{9A4B509C-EEE7-485A-994E-5919214B754D}" dt="2025-02-20T01:54:50.507" v="2223" actId="478"/>
          <ac:spMkLst>
            <pc:docMk/>
            <pc:sldMk cId="1682521381" sldId="1729"/>
            <ac:spMk id="496" creationId="{F25DAA5C-3E64-A19F-5A59-9420EB0E344B}"/>
          </ac:spMkLst>
        </pc:spChg>
        <pc:spChg chg="mod topLvl">
          <ac:chgData name="Darius Kuddo" userId="da7555aa-d650-4d73-b00b-d01e713f1329" providerId="ADAL" clId="{9A4B509C-EEE7-485A-994E-5919214B754D}" dt="2025-02-20T01:45:12.565" v="2098" actId="108"/>
          <ac:spMkLst>
            <pc:docMk/>
            <pc:sldMk cId="1682521381" sldId="1729"/>
            <ac:spMk id="498" creationId="{192D549A-52FF-2CC3-31E5-B43A387051D7}"/>
          </ac:spMkLst>
        </pc:spChg>
        <pc:spChg chg="del mod topLvl">
          <ac:chgData name="Darius Kuddo" userId="da7555aa-d650-4d73-b00b-d01e713f1329" providerId="ADAL" clId="{9A4B509C-EEE7-485A-994E-5919214B754D}" dt="2025-02-20T01:54:50.507" v="2223" actId="478"/>
          <ac:spMkLst>
            <pc:docMk/>
            <pc:sldMk cId="1682521381" sldId="1729"/>
            <ac:spMk id="499" creationId="{01060549-6A59-38DF-E317-05DB343E6D6D}"/>
          </ac:spMkLst>
        </pc:spChg>
        <pc:spChg chg="mod topLvl">
          <ac:chgData name="Darius Kuddo" userId="da7555aa-d650-4d73-b00b-d01e713f1329" providerId="ADAL" clId="{9A4B509C-EEE7-485A-994E-5919214B754D}" dt="2025-02-20T01:44:52.327" v="2080" actId="165"/>
          <ac:spMkLst>
            <pc:docMk/>
            <pc:sldMk cId="1682521381" sldId="1729"/>
            <ac:spMk id="503" creationId="{8D3EDD37-0D96-FEFF-7D4F-47FB68DC6415}"/>
          </ac:spMkLst>
        </pc:spChg>
        <pc:spChg chg="add mod">
          <ac:chgData name="Darius Kuddo" userId="da7555aa-d650-4d73-b00b-d01e713f1329" providerId="ADAL" clId="{9A4B509C-EEE7-485A-994E-5919214B754D}" dt="2025-02-20T01:44:38.126" v="2073" actId="1035"/>
          <ac:spMkLst>
            <pc:docMk/>
            <pc:sldMk cId="1682521381" sldId="1729"/>
            <ac:spMk id="504" creationId="{A6A87932-6905-D3A5-FA49-7FF33BC69337}"/>
          </ac:spMkLst>
        </pc:spChg>
        <pc:spChg chg="del">
          <ac:chgData name="Darius Kuddo" userId="da7555aa-d650-4d73-b00b-d01e713f1329" providerId="ADAL" clId="{9A4B509C-EEE7-485A-994E-5919214B754D}" dt="2025-02-20T01:54:50.507" v="2223" actId="478"/>
          <ac:spMkLst>
            <pc:docMk/>
            <pc:sldMk cId="1682521381" sldId="1729"/>
            <ac:spMk id="513" creationId="{F60D6C42-2570-E575-3D98-73270A95B77A}"/>
          </ac:spMkLst>
        </pc:spChg>
        <pc:spChg chg="mod topLvl">
          <ac:chgData name="Darius Kuddo" userId="da7555aa-d650-4d73-b00b-d01e713f1329" providerId="ADAL" clId="{9A4B509C-EEE7-485A-994E-5919214B754D}" dt="2025-02-20T01:54:19.083" v="2221" actId="165"/>
          <ac:spMkLst>
            <pc:docMk/>
            <pc:sldMk cId="1682521381" sldId="1729"/>
            <ac:spMk id="518" creationId="{41D6DE96-5345-CDB3-20FC-F7FF8C74E0A9}"/>
          </ac:spMkLst>
        </pc:spChg>
        <pc:spChg chg="mod topLvl">
          <ac:chgData name="Darius Kuddo" userId="da7555aa-d650-4d73-b00b-d01e713f1329" providerId="ADAL" clId="{9A4B509C-EEE7-485A-994E-5919214B754D}" dt="2025-02-20T01:54:19.083" v="2221" actId="165"/>
          <ac:spMkLst>
            <pc:docMk/>
            <pc:sldMk cId="1682521381" sldId="1729"/>
            <ac:spMk id="519" creationId="{3D22B540-778F-8B01-2669-DBB95C2AFC5D}"/>
          </ac:spMkLst>
        </pc:spChg>
        <pc:spChg chg="del mod topLvl">
          <ac:chgData name="Darius Kuddo" userId="da7555aa-d650-4d73-b00b-d01e713f1329" providerId="ADAL" clId="{9A4B509C-EEE7-485A-994E-5919214B754D}" dt="2025-02-20T01:54:50.507" v="2223" actId="478"/>
          <ac:spMkLst>
            <pc:docMk/>
            <pc:sldMk cId="1682521381" sldId="1729"/>
            <ac:spMk id="520" creationId="{D5186388-C3DD-B871-2C7A-44C2711D2135}"/>
          </ac:spMkLst>
        </pc:spChg>
        <pc:spChg chg="mod topLvl">
          <ac:chgData name="Darius Kuddo" userId="da7555aa-d650-4d73-b00b-d01e713f1329" providerId="ADAL" clId="{9A4B509C-EEE7-485A-994E-5919214B754D}" dt="2025-02-20T01:54:19.083" v="2221" actId="165"/>
          <ac:spMkLst>
            <pc:docMk/>
            <pc:sldMk cId="1682521381" sldId="1729"/>
            <ac:spMk id="521" creationId="{762D56D5-CB15-875E-023F-ECE267733AEE}"/>
          </ac:spMkLst>
        </pc:spChg>
        <pc:spChg chg="mod ord topLvl">
          <ac:chgData name="Darius Kuddo" userId="da7555aa-d650-4d73-b00b-d01e713f1329" providerId="ADAL" clId="{9A4B509C-EEE7-485A-994E-5919214B754D}" dt="2025-02-20T01:55:55.885" v="2227" actId="14861"/>
          <ac:spMkLst>
            <pc:docMk/>
            <pc:sldMk cId="1682521381" sldId="1729"/>
            <ac:spMk id="522" creationId="{88E3A584-7CFE-5C6F-E7FE-5D26BF4227B6}"/>
          </ac:spMkLst>
        </pc:spChg>
        <pc:spChg chg="mod">
          <ac:chgData name="Darius Kuddo" userId="da7555aa-d650-4d73-b00b-d01e713f1329" providerId="ADAL" clId="{9A4B509C-EEE7-485A-994E-5919214B754D}" dt="2025-02-20T01:42:03.876" v="2009" actId="164"/>
          <ac:spMkLst>
            <pc:docMk/>
            <pc:sldMk cId="1682521381" sldId="1729"/>
            <ac:spMk id="537" creationId="{E088B95D-F9DF-87AB-2457-64A6646E0172}"/>
          </ac:spMkLst>
        </pc:spChg>
        <pc:spChg chg="mod">
          <ac:chgData name="Darius Kuddo" userId="da7555aa-d650-4d73-b00b-d01e713f1329" providerId="ADAL" clId="{9A4B509C-EEE7-485A-994E-5919214B754D}" dt="2025-02-20T01:42:03.876" v="2009" actId="164"/>
          <ac:spMkLst>
            <pc:docMk/>
            <pc:sldMk cId="1682521381" sldId="1729"/>
            <ac:spMk id="538" creationId="{92B33136-BEE2-C4F0-72B3-3DB27D587770}"/>
          </ac:spMkLst>
        </pc:spChg>
        <pc:spChg chg="mod ord">
          <ac:chgData name="Darius Kuddo" userId="da7555aa-d650-4d73-b00b-d01e713f1329" providerId="ADAL" clId="{9A4B509C-EEE7-485A-994E-5919214B754D}" dt="2025-02-20T01:42:03.876" v="2009" actId="164"/>
          <ac:spMkLst>
            <pc:docMk/>
            <pc:sldMk cId="1682521381" sldId="1729"/>
            <ac:spMk id="539" creationId="{5422B66B-7ECF-0654-1E31-F91456BBA438}"/>
          </ac:spMkLst>
        </pc:spChg>
        <pc:spChg chg="mod">
          <ac:chgData name="Darius Kuddo" userId="da7555aa-d650-4d73-b00b-d01e713f1329" providerId="ADAL" clId="{9A4B509C-EEE7-485A-994E-5919214B754D}" dt="2025-02-20T01:42:03.876" v="2009" actId="164"/>
          <ac:spMkLst>
            <pc:docMk/>
            <pc:sldMk cId="1682521381" sldId="1729"/>
            <ac:spMk id="540" creationId="{795222BC-66FA-85A2-1E95-8D5B0876F2CD}"/>
          </ac:spMkLst>
        </pc:spChg>
        <pc:spChg chg="mod">
          <ac:chgData name="Darius Kuddo" userId="da7555aa-d650-4d73-b00b-d01e713f1329" providerId="ADAL" clId="{9A4B509C-EEE7-485A-994E-5919214B754D}" dt="2025-02-20T01:42:03.876" v="2009" actId="164"/>
          <ac:spMkLst>
            <pc:docMk/>
            <pc:sldMk cId="1682521381" sldId="1729"/>
            <ac:spMk id="541" creationId="{15248E31-9A29-D9E3-9E90-0422198E5DE9}"/>
          </ac:spMkLst>
        </pc:spChg>
        <pc:spChg chg="del mod ord">
          <ac:chgData name="Darius Kuddo" userId="da7555aa-d650-4d73-b00b-d01e713f1329" providerId="ADAL" clId="{9A4B509C-EEE7-485A-994E-5919214B754D}" dt="2025-02-20T01:41:00.498" v="1996" actId="478"/>
          <ac:spMkLst>
            <pc:docMk/>
            <pc:sldMk cId="1682521381" sldId="1729"/>
            <ac:spMk id="545" creationId="{E9D50B3E-3565-A56D-7EC7-44E5E1E4CB83}"/>
          </ac:spMkLst>
        </pc:spChg>
        <pc:spChg chg="del">
          <ac:chgData name="Darius Kuddo" userId="da7555aa-d650-4d73-b00b-d01e713f1329" providerId="ADAL" clId="{9A4B509C-EEE7-485A-994E-5919214B754D}" dt="2025-02-20T01:41:00.498" v="1996" actId="478"/>
          <ac:spMkLst>
            <pc:docMk/>
            <pc:sldMk cId="1682521381" sldId="1729"/>
            <ac:spMk id="546" creationId="{BCC431D3-E1E5-62B1-8294-0750073E83FD}"/>
          </ac:spMkLst>
        </pc:spChg>
        <pc:spChg chg="del">
          <ac:chgData name="Darius Kuddo" userId="da7555aa-d650-4d73-b00b-d01e713f1329" providerId="ADAL" clId="{9A4B509C-EEE7-485A-994E-5919214B754D}" dt="2025-02-20T01:41:00.498" v="1996" actId="478"/>
          <ac:spMkLst>
            <pc:docMk/>
            <pc:sldMk cId="1682521381" sldId="1729"/>
            <ac:spMk id="547" creationId="{52F8C497-C9DD-AC53-8195-9DED84A5BCD0}"/>
          </ac:spMkLst>
        </pc:spChg>
        <pc:grpChg chg="add del mod">
          <ac:chgData name="Darius Kuddo" userId="da7555aa-d650-4d73-b00b-d01e713f1329" providerId="ADAL" clId="{9A4B509C-EEE7-485A-994E-5919214B754D}" dt="2025-02-20T01:43:16.254" v="2042" actId="165"/>
          <ac:grpSpMkLst>
            <pc:docMk/>
            <pc:sldMk cId="1682521381" sldId="1729"/>
            <ac:grpSpMk id="4" creationId="{B29C8C28-0102-10A2-DBBA-786B533D3D94}"/>
          </ac:grpSpMkLst>
        </pc:grpChg>
        <pc:grpChg chg="add del mod">
          <ac:chgData name="Darius Kuddo" userId="da7555aa-d650-4d73-b00b-d01e713f1329" providerId="ADAL" clId="{9A4B509C-EEE7-485A-994E-5919214B754D}" dt="2025-02-20T01:42:22.584" v="2016" actId="478"/>
          <ac:grpSpMkLst>
            <pc:docMk/>
            <pc:sldMk cId="1682521381" sldId="1729"/>
            <ac:grpSpMk id="5" creationId="{F31A7EE6-D269-BFF2-68B9-B34187EE8442}"/>
          </ac:grpSpMkLst>
        </pc:grpChg>
        <pc:grpChg chg="add del mod">
          <ac:chgData name="Darius Kuddo" userId="da7555aa-d650-4d73-b00b-d01e713f1329" providerId="ADAL" clId="{9A4B509C-EEE7-485A-994E-5919214B754D}" dt="2025-02-20T01:42:14.497" v="2013" actId="478"/>
          <ac:grpSpMkLst>
            <pc:docMk/>
            <pc:sldMk cId="1682521381" sldId="1729"/>
            <ac:grpSpMk id="6" creationId="{552EA7B2-D84D-9ACD-B8A0-09E4BC22B076}"/>
          </ac:grpSpMkLst>
        </pc:grpChg>
        <pc:grpChg chg="add del mod topLvl">
          <ac:chgData name="Darius Kuddo" userId="da7555aa-d650-4d73-b00b-d01e713f1329" providerId="ADAL" clId="{9A4B509C-EEE7-485A-994E-5919214B754D}" dt="2025-02-20T01:54:33.458" v="2222" actId="165"/>
          <ac:grpSpMkLst>
            <pc:docMk/>
            <pc:sldMk cId="1682521381" sldId="1729"/>
            <ac:grpSpMk id="16" creationId="{D7DDBDB4-ADC2-1FD0-8760-A029432090CB}"/>
          </ac:grpSpMkLst>
        </pc:grpChg>
        <pc:grpChg chg="add del mod">
          <ac:chgData name="Darius Kuddo" userId="da7555aa-d650-4d73-b00b-d01e713f1329" providerId="ADAL" clId="{9A4B509C-EEE7-485A-994E-5919214B754D}" dt="2025-02-20T01:54:19.083" v="2221" actId="165"/>
          <ac:grpSpMkLst>
            <pc:docMk/>
            <pc:sldMk cId="1682521381" sldId="1729"/>
            <ac:grpSpMk id="18" creationId="{33F22EA0-F727-5747-8FA0-E532D2CDC538}"/>
          </ac:grpSpMkLst>
        </pc:grpChg>
        <pc:grpChg chg="add del mod">
          <ac:chgData name="Darius Kuddo" userId="da7555aa-d650-4d73-b00b-d01e713f1329" providerId="ADAL" clId="{9A4B509C-EEE7-485A-994E-5919214B754D}" dt="2025-02-20T01:43:45.850" v="2054" actId="164"/>
          <ac:grpSpMkLst>
            <pc:docMk/>
            <pc:sldMk cId="1682521381" sldId="1729"/>
            <ac:grpSpMk id="20" creationId="{9C2B15F7-E596-FEF2-0FCF-8537791D5F91}"/>
          </ac:grpSpMkLst>
        </pc:grpChg>
        <pc:grpChg chg="add del mod">
          <ac:chgData name="Darius Kuddo" userId="da7555aa-d650-4d73-b00b-d01e713f1329" providerId="ADAL" clId="{9A4B509C-EEE7-485A-994E-5919214B754D}" dt="2025-02-20T01:43:42.568" v="2053" actId="1076"/>
          <ac:grpSpMkLst>
            <pc:docMk/>
            <pc:sldMk cId="1682521381" sldId="1729"/>
            <ac:grpSpMk id="21" creationId="{7F7EB89F-11C5-D4EB-1195-81CF09A6FD28}"/>
          </ac:grpSpMkLst>
        </pc:grpChg>
        <pc:grpChg chg="add del mod">
          <ac:chgData name="Darius Kuddo" userId="da7555aa-d650-4d73-b00b-d01e713f1329" providerId="ADAL" clId="{9A4B509C-EEE7-485A-994E-5919214B754D}" dt="2025-02-20T01:54:19.083" v="2221" actId="165"/>
          <ac:grpSpMkLst>
            <pc:docMk/>
            <pc:sldMk cId="1682521381" sldId="1729"/>
            <ac:grpSpMk id="454" creationId="{53654C28-E770-0DFF-2559-3708687E16B1}"/>
          </ac:grpSpMkLst>
        </pc:grpChg>
        <pc:grpChg chg="add del mod">
          <ac:chgData name="Darius Kuddo" userId="da7555aa-d650-4d73-b00b-d01e713f1329" providerId="ADAL" clId="{9A4B509C-EEE7-485A-994E-5919214B754D}" dt="2025-02-20T01:54:19.083" v="2221" actId="165"/>
          <ac:grpSpMkLst>
            <pc:docMk/>
            <pc:sldMk cId="1682521381" sldId="1729"/>
            <ac:grpSpMk id="455" creationId="{10F83E10-E21F-BA95-A197-10924F66A261}"/>
          </ac:grpSpMkLst>
        </pc:grpChg>
        <pc:grpChg chg="add del mod">
          <ac:chgData name="Darius Kuddo" userId="da7555aa-d650-4d73-b00b-d01e713f1329" providerId="ADAL" clId="{9A4B509C-EEE7-485A-994E-5919214B754D}" dt="2025-02-20T01:44:25.165" v="2062" actId="165"/>
          <ac:grpSpMkLst>
            <pc:docMk/>
            <pc:sldMk cId="1682521381" sldId="1729"/>
            <ac:grpSpMk id="461" creationId="{0BA1F40B-3E09-B4EE-D3BA-ABF7BBF8E6C6}"/>
          </ac:grpSpMkLst>
        </pc:grpChg>
        <pc:grpChg chg="add del mod topLvl">
          <ac:chgData name="Darius Kuddo" userId="da7555aa-d650-4d73-b00b-d01e713f1329" providerId="ADAL" clId="{9A4B509C-EEE7-485A-994E-5919214B754D}" dt="2025-02-20T01:44:52.327" v="2080" actId="165"/>
          <ac:grpSpMkLst>
            <pc:docMk/>
            <pc:sldMk cId="1682521381" sldId="1729"/>
            <ac:grpSpMk id="462" creationId="{C5E03B02-3519-166E-02F0-0238C6746400}"/>
          </ac:grpSpMkLst>
        </pc:grpChg>
        <pc:grpChg chg="add del mod">
          <ac:chgData name="Darius Kuddo" userId="da7555aa-d650-4d73-b00b-d01e713f1329" providerId="ADAL" clId="{9A4B509C-EEE7-485A-994E-5919214B754D}" dt="2025-02-20T01:54:19.083" v="2221" actId="165"/>
          <ac:grpSpMkLst>
            <pc:docMk/>
            <pc:sldMk cId="1682521381" sldId="1729"/>
            <ac:grpSpMk id="509" creationId="{0452DE7D-64B5-D591-2BC2-3848549602ED}"/>
          </ac:grpSpMkLst>
        </pc:grpChg>
        <pc:graphicFrameChg chg="mod">
          <ac:chgData name="Darius Kuddo" userId="da7555aa-d650-4d73-b00b-d01e713f1329" providerId="ADAL" clId="{9A4B509C-EEE7-485A-994E-5919214B754D}" dt="2025-02-20T02:28:46.718" v="4604"/>
          <ac:graphicFrameMkLst>
            <pc:docMk/>
            <pc:sldMk cId="1682521381" sldId="1729"/>
            <ac:graphicFrameMk id="2" creationId="{7CBD8F09-42FB-A429-FF5F-C755AEC75459}"/>
          </ac:graphicFrameMkLst>
        </pc:graphicFrameChg>
        <pc:picChg chg="mod">
          <ac:chgData name="Darius Kuddo" userId="da7555aa-d650-4d73-b00b-d01e713f1329" providerId="ADAL" clId="{9A4B509C-EEE7-485A-994E-5919214B754D}" dt="2025-02-20T01:42:07.616" v="2012" actId="554"/>
          <ac:picMkLst>
            <pc:docMk/>
            <pc:sldMk cId="1682521381" sldId="1729"/>
            <ac:picMk id="12" creationId="{3662A857-4235-BFA8-730F-3E0D2F8E4920}"/>
          </ac:picMkLst>
        </pc:picChg>
        <pc:picChg chg="mod">
          <ac:chgData name="Darius Kuddo" userId="da7555aa-d650-4d73-b00b-d01e713f1329" providerId="ADAL" clId="{9A4B509C-EEE7-485A-994E-5919214B754D}" dt="2025-02-20T01:42:07.616" v="2012" actId="554"/>
          <ac:picMkLst>
            <pc:docMk/>
            <pc:sldMk cId="1682521381" sldId="1729"/>
            <ac:picMk id="13" creationId="{4717D6AF-9D9C-1F27-09BC-DD1ED9E6D8B3}"/>
          </ac:picMkLst>
        </pc:picChg>
        <pc:picChg chg="del">
          <ac:chgData name="Darius Kuddo" userId="da7555aa-d650-4d73-b00b-d01e713f1329" providerId="ADAL" clId="{9A4B509C-EEE7-485A-994E-5919214B754D}" dt="2025-02-20T01:41:17.202" v="2006" actId="478"/>
          <ac:picMkLst>
            <pc:docMk/>
            <pc:sldMk cId="1682521381" sldId="1729"/>
            <ac:picMk id="17" creationId="{DC644276-34F2-2347-9642-975CA7D923A8}"/>
          </ac:picMkLst>
        </pc:picChg>
        <pc:picChg chg="del">
          <ac:chgData name="Darius Kuddo" userId="da7555aa-d650-4d73-b00b-d01e713f1329" providerId="ADAL" clId="{9A4B509C-EEE7-485A-994E-5919214B754D}" dt="2025-02-20T01:41:17.202" v="2006" actId="478"/>
          <ac:picMkLst>
            <pc:docMk/>
            <pc:sldMk cId="1682521381" sldId="1729"/>
            <ac:picMk id="19" creationId="{9194DFC8-748F-406C-E847-DBDB60059274}"/>
          </ac:picMkLst>
        </pc:picChg>
        <pc:picChg chg="mod topLvl">
          <ac:chgData name="Darius Kuddo" userId="da7555aa-d650-4d73-b00b-d01e713f1329" providerId="ADAL" clId="{9A4B509C-EEE7-485A-994E-5919214B754D}" dt="2025-02-20T01:43:42.568" v="2053" actId="1076"/>
          <ac:picMkLst>
            <pc:docMk/>
            <pc:sldMk cId="1682521381" sldId="1729"/>
            <ac:picMk id="25" creationId="{54B7E55E-124C-529B-80FC-B625F71AF79F}"/>
          </ac:picMkLst>
        </pc:picChg>
        <pc:picChg chg="del">
          <ac:chgData name="Darius Kuddo" userId="da7555aa-d650-4d73-b00b-d01e713f1329" providerId="ADAL" clId="{9A4B509C-EEE7-485A-994E-5919214B754D}" dt="2025-02-20T01:41:17.202" v="2006" actId="478"/>
          <ac:picMkLst>
            <pc:docMk/>
            <pc:sldMk cId="1682521381" sldId="1729"/>
            <ac:picMk id="26" creationId="{1FA08FE7-82CF-4B08-9CB3-FFAAE503424D}"/>
          </ac:picMkLst>
        </pc:picChg>
        <pc:picChg chg="del">
          <ac:chgData name="Darius Kuddo" userId="da7555aa-d650-4d73-b00b-d01e713f1329" providerId="ADAL" clId="{9A4B509C-EEE7-485A-994E-5919214B754D}" dt="2025-02-20T01:41:17.202" v="2006" actId="478"/>
          <ac:picMkLst>
            <pc:docMk/>
            <pc:sldMk cId="1682521381" sldId="1729"/>
            <ac:picMk id="27" creationId="{DC0E59B5-40D6-75BD-58B1-0E95DF7A60DD}"/>
          </ac:picMkLst>
        </pc:picChg>
        <pc:picChg chg="mod topLvl">
          <ac:chgData name="Darius Kuddo" userId="da7555aa-d650-4d73-b00b-d01e713f1329" providerId="ADAL" clId="{9A4B509C-EEE7-485A-994E-5919214B754D}" dt="2025-02-20T01:43:42.568" v="2053" actId="1076"/>
          <ac:picMkLst>
            <pc:docMk/>
            <pc:sldMk cId="1682521381" sldId="1729"/>
            <ac:picMk id="28" creationId="{2CF5EDCA-4865-B99B-B7AE-5BA426717689}"/>
          </ac:picMkLst>
        </pc:picChg>
        <pc:picChg chg="mod topLvl">
          <ac:chgData name="Darius Kuddo" userId="da7555aa-d650-4d73-b00b-d01e713f1329" providerId="ADAL" clId="{9A4B509C-EEE7-485A-994E-5919214B754D}" dt="2025-02-20T01:43:42.568" v="2053" actId="1076"/>
          <ac:picMkLst>
            <pc:docMk/>
            <pc:sldMk cId="1682521381" sldId="1729"/>
            <ac:picMk id="29" creationId="{5E623188-F4FF-78FE-FE15-C90A46DB2BEB}"/>
          </ac:picMkLst>
        </pc:picChg>
        <pc:picChg chg="mod topLvl">
          <ac:chgData name="Darius Kuddo" userId="da7555aa-d650-4d73-b00b-d01e713f1329" providerId="ADAL" clId="{9A4B509C-EEE7-485A-994E-5919214B754D}" dt="2025-02-20T01:43:42.568" v="2053" actId="1076"/>
          <ac:picMkLst>
            <pc:docMk/>
            <pc:sldMk cId="1682521381" sldId="1729"/>
            <ac:picMk id="38" creationId="{04C39A9E-42F1-B329-25D8-A6ED35FBC978}"/>
          </ac:picMkLst>
        </pc:picChg>
        <pc:picChg chg="mod topLvl">
          <ac:chgData name="Darius Kuddo" userId="da7555aa-d650-4d73-b00b-d01e713f1329" providerId="ADAL" clId="{9A4B509C-EEE7-485A-994E-5919214B754D}" dt="2025-02-20T01:43:42.568" v="2053" actId="1076"/>
          <ac:picMkLst>
            <pc:docMk/>
            <pc:sldMk cId="1682521381" sldId="1729"/>
            <ac:picMk id="42" creationId="{EC939FC5-FF12-8C67-91F2-92DB1C0DDA4D}"/>
          </ac:picMkLst>
        </pc:picChg>
        <pc:picChg chg="mod topLvl">
          <ac:chgData name="Darius Kuddo" userId="da7555aa-d650-4d73-b00b-d01e713f1329" providerId="ADAL" clId="{9A4B509C-EEE7-485A-994E-5919214B754D}" dt="2025-02-20T01:43:42.568" v="2053" actId="1076"/>
          <ac:picMkLst>
            <pc:docMk/>
            <pc:sldMk cId="1682521381" sldId="1729"/>
            <ac:picMk id="46" creationId="{D58EE324-BFB6-6628-8092-8F7ACEA2C0E4}"/>
          </ac:picMkLst>
        </pc:picChg>
        <pc:picChg chg="mod topLvl">
          <ac:chgData name="Darius Kuddo" userId="da7555aa-d650-4d73-b00b-d01e713f1329" providerId="ADAL" clId="{9A4B509C-EEE7-485A-994E-5919214B754D}" dt="2025-02-20T01:43:42.568" v="2053" actId="1076"/>
          <ac:picMkLst>
            <pc:docMk/>
            <pc:sldMk cId="1682521381" sldId="1729"/>
            <ac:picMk id="48" creationId="{0D344403-E5BA-8F40-6317-8B272FB34F58}"/>
          </ac:picMkLst>
        </pc:picChg>
        <pc:picChg chg="mod topLvl">
          <ac:chgData name="Darius Kuddo" userId="da7555aa-d650-4d73-b00b-d01e713f1329" providerId="ADAL" clId="{9A4B509C-EEE7-485A-994E-5919214B754D}" dt="2025-02-20T01:43:42.568" v="2053" actId="1076"/>
          <ac:picMkLst>
            <pc:docMk/>
            <pc:sldMk cId="1682521381" sldId="1729"/>
            <ac:picMk id="49" creationId="{3987E1C1-8AE6-1280-23E5-86EAC29FE4FF}"/>
          </ac:picMkLst>
        </pc:picChg>
        <pc:picChg chg="mod topLvl">
          <ac:chgData name="Darius Kuddo" userId="da7555aa-d650-4d73-b00b-d01e713f1329" providerId="ADAL" clId="{9A4B509C-EEE7-485A-994E-5919214B754D}" dt="2025-02-20T01:43:42.568" v="2053" actId="1076"/>
          <ac:picMkLst>
            <pc:docMk/>
            <pc:sldMk cId="1682521381" sldId="1729"/>
            <ac:picMk id="50" creationId="{8AC33438-6C9B-FA1F-B65E-4CF982F4A9BA}"/>
          </ac:picMkLst>
        </pc:picChg>
        <pc:picChg chg="mod topLvl">
          <ac:chgData name="Darius Kuddo" userId="da7555aa-d650-4d73-b00b-d01e713f1329" providerId="ADAL" clId="{9A4B509C-EEE7-485A-994E-5919214B754D}" dt="2025-02-20T01:43:42.568" v="2053" actId="1076"/>
          <ac:picMkLst>
            <pc:docMk/>
            <pc:sldMk cId="1682521381" sldId="1729"/>
            <ac:picMk id="51" creationId="{6B5127D1-AE66-A7AB-6F49-B414BC7260B8}"/>
          </ac:picMkLst>
        </pc:picChg>
        <pc:picChg chg="mod topLvl">
          <ac:chgData name="Darius Kuddo" userId="da7555aa-d650-4d73-b00b-d01e713f1329" providerId="ADAL" clId="{9A4B509C-EEE7-485A-994E-5919214B754D}" dt="2025-02-20T01:43:42.568" v="2053" actId="1076"/>
          <ac:picMkLst>
            <pc:docMk/>
            <pc:sldMk cId="1682521381" sldId="1729"/>
            <ac:picMk id="55" creationId="{020098E9-868F-5D3D-E2DF-990019706E02}"/>
          </ac:picMkLst>
        </pc:picChg>
        <pc:picChg chg="mod topLvl">
          <ac:chgData name="Darius Kuddo" userId="da7555aa-d650-4d73-b00b-d01e713f1329" providerId="ADAL" clId="{9A4B509C-EEE7-485A-994E-5919214B754D}" dt="2025-02-20T01:54:19.083" v="2221" actId="165"/>
          <ac:picMkLst>
            <pc:docMk/>
            <pc:sldMk cId="1682521381" sldId="1729"/>
            <ac:picMk id="56" creationId="{4EBA303A-1A2C-012B-CD54-2AADC3B61977}"/>
          </ac:picMkLst>
        </pc:picChg>
        <pc:picChg chg="mod topLvl">
          <ac:chgData name="Darius Kuddo" userId="da7555aa-d650-4d73-b00b-d01e713f1329" providerId="ADAL" clId="{9A4B509C-EEE7-485A-994E-5919214B754D}" dt="2025-02-20T01:54:19.083" v="2221" actId="165"/>
          <ac:picMkLst>
            <pc:docMk/>
            <pc:sldMk cId="1682521381" sldId="1729"/>
            <ac:picMk id="57" creationId="{6FDAFC2A-D0D5-1A7E-D77C-4F0B3AE6D1BD}"/>
          </ac:picMkLst>
        </pc:picChg>
        <pc:picChg chg="mod topLvl">
          <ac:chgData name="Darius Kuddo" userId="da7555aa-d650-4d73-b00b-d01e713f1329" providerId="ADAL" clId="{9A4B509C-EEE7-485A-994E-5919214B754D}" dt="2025-02-20T01:54:19.083" v="2221" actId="165"/>
          <ac:picMkLst>
            <pc:docMk/>
            <pc:sldMk cId="1682521381" sldId="1729"/>
            <ac:picMk id="58" creationId="{AB6CFEC1-F4CD-4704-52AC-832AC823FE03}"/>
          </ac:picMkLst>
        </pc:picChg>
        <pc:picChg chg="mod topLvl">
          <ac:chgData name="Darius Kuddo" userId="da7555aa-d650-4d73-b00b-d01e713f1329" providerId="ADAL" clId="{9A4B509C-EEE7-485A-994E-5919214B754D}" dt="2025-02-20T01:54:19.083" v="2221" actId="165"/>
          <ac:picMkLst>
            <pc:docMk/>
            <pc:sldMk cId="1682521381" sldId="1729"/>
            <ac:picMk id="68" creationId="{677C5B97-D83C-FD31-CC0B-46D5D1A13E9A}"/>
          </ac:picMkLst>
        </pc:picChg>
        <pc:picChg chg="add mod">
          <ac:chgData name="Darius Kuddo" userId="da7555aa-d650-4d73-b00b-d01e713f1329" providerId="ADAL" clId="{9A4B509C-EEE7-485A-994E-5919214B754D}" dt="2025-02-20T01:46:21.426" v="2189" actId="12788"/>
          <ac:picMkLst>
            <pc:docMk/>
            <pc:sldMk cId="1682521381" sldId="1729"/>
            <ac:picMk id="71" creationId="{B430B141-0D4C-7532-D76F-02FA8F7F4494}"/>
          </ac:picMkLst>
        </pc:picChg>
        <pc:picChg chg="add mod">
          <ac:chgData name="Darius Kuddo" userId="da7555aa-d650-4d73-b00b-d01e713f1329" providerId="ADAL" clId="{9A4B509C-EEE7-485A-994E-5919214B754D}" dt="2025-02-20T01:46:21.426" v="2189" actId="12788"/>
          <ac:picMkLst>
            <pc:docMk/>
            <pc:sldMk cId="1682521381" sldId="1729"/>
            <ac:picMk id="74" creationId="{617F5F50-E5C2-2192-49C9-F4F6E4EF0463}"/>
          </ac:picMkLst>
        </pc:picChg>
        <pc:picChg chg="mod topLvl">
          <ac:chgData name="Darius Kuddo" userId="da7555aa-d650-4d73-b00b-d01e713f1329" providerId="ADAL" clId="{9A4B509C-EEE7-485A-994E-5919214B754D}" dt="2025-02-20T01:43:45.850" v="2054" actId="164"/>
          <ac:picMkLst>
            <pc:docMk/>
            <pc:sldMk cId="1682521381" sldId="1729"/>
            <ac:picMk id="80" creationId="{C57BF764-D4C8-696D-93AD-CCF77339BE26}"/>
          </ac:picMkLst>
        </pc:picChg>
        <pc:picChg chg="mod topLvl">
          <ac:chgData name="Darius Kuddo" userId="da7555aa-d650-4d73-b00b-d01e713f1329" providerId="ADAL" clId="{9A4B509C-EEE7-485A-994E-5919214B754D}" dt="2025-02-20T01:43:45.850" v="2054" actId="164"/>
          <ac:picMkLst>
            <pc:docMk/>
            <pc:sldMk cId="1682521381" sldId="1729"/>
            <ac:picMk id="88" creationId="{D5093904-9441-226E-DD78-E460630919BD}"/>
          </ac:picMkLst>
        </pc:picChg>
        <pc:picChg chg="mod topLvl">
          <ac:chgData name="Darius Kuddo" userId="da7555aa-d650-4d73-b00b-d01e713f1329" providerId="ADAL" clId="{9A4B509C-EEE7-485A-994E-5919214B754D}" dt="2025-02-20T01:43:45.850" v="2054" actId="164"/>
          <ac:picMkLst>
            <pc:docMk/>
            <pc:sldMk cId="1682521381" sldId="1729"/>
            <ac:picMk id="91" creationId="{C13EEFB1-8D95-7FEF-41A6-230853C7BD77}"/>
          </ac:picMkLst>
        </pc:picChg>
        <pc:picChg chg="mod topLvl">
          <ac:chgData name="Darius Kuddo" userId="da7555aa-d650-4d73-b00b-d01e713f1329" providerId="ADAL" clId="{9A4B509C-EEE7-485A-994E-5919214B754D}" dt="2025-02-20T01:43:45.850" v="2054" actId="164"/>
          <ac:picMkLst>
            <pc:docMk/>
            <pc:sldMk cId="1682521381" sldId="1729"/>
            <ac:picMk id="92" creationId="{90038B98-837A-A773-0617-12E00C85C9C0}"/>
          </ac:picMkLst>
        </pc:picChg>
        <pc:picChg chg="mod topLvl">
          <ac:chgData name="Darius Kuddo" userId="da7555aa-d650-4d73-b00b-d01e713f1329" providerId="ADAL" clId="{9A4B509C-EEE7-485A-994E-5919214B754D}" dt="2025-02-20T01:43:45.850" v="2054" actId="164"/>
          <ac:picMkLst>
            <pc:docMk/>
            <pc:sldMk cId="1682521381" sldId="1729"/>
            <ac:picMk id="93" creationId="{306C069C-AF83-DF68-DD1D-BF75E2959F68}"/>
          </ac:picMkLst>
        </pc:picChg>
        <pc:picChg chg="mod topLvl">
          <ac:chgData name="Darius Kuddo" userId="da7555aa-d650-4d73-b00b-d01e713f1329" providerId="ADAL" clId="{9A4B509C-EEE7-485A-994E-5919214B754D}" dt="2025-02-20T01:43:16.254" v="2042" actId="165"/>
          <ac:picMkLst>
            <pc:docMk/>
            <pc:sldMk cId="1682521381" sldId="1729"/>
            <ac:picMk id="94" creationId="{7C4C2B41-2CBF-5102-157B-9309EDACA753}"/>
          </ac:picMkLst>
        </pc:picChg>
        <pc:picChg chg="mod topLvl">
          <ac:chgData name="Darius Kuddo" userId="da7555aa-d650-4d73-b00b-d01e713f1329" providerId="ADAL" clId="{9A4B509C-EEE7-485A-994E-5919214B754D}" dt="2025-02-20T01:43:16.254" v="2042" actId="165"/>
          <ac:picMkLst>
            <pc:docMk/>
            <pc:sldMk cId="1682521381" sldId="1729"/>
            <ac:picMk id="95" creationId="{18850DBE-637F-C318-4863-841ADFDBBAFD}"/>
          </ac:picMkLst>
        </pc:picChg>
        <pc:picChg chg="mod topLvl">
          <ac:chgData name="Darius Kuddo" userId="da7555aa-d650-4d73-b00b-d01e713f1329" providerId="ADAL" clId="{9A4B509C-EEE7-485A-994E-5919214B754D}" dt="2025-02-20T01:54:19.083" v="2221" actId="165"/>
          <ac:picMkLst>
            <pc:docMk/>
            <pc:sldMk cId="1682521381" sldId="1729"/>
            <ac:picMk id="101" creationId="{6D747DDE-BD71-550E-04ED-ED2512D4EC28}"/>
          </ac:picMkLst>
        </pc:picChg>
        <pc:picChg chg="mod topLvl">
          <ac:chgData name="Darius Kuddo" userId="da7555aa-d650-4d73-b00b-d01e713f1329" providerId="ADAL" clId="{9A4B509C-EEE7-485A-994E-5919214B754D}" dt="2025-02-20T01:54:19.083" v="2221" actId="165"/>
          <ac:picMkLst>
            <pc:docMk/>
            <pc:sldMk cId="1682521381" sldId="1729"/>
            <ac:picMk id="102" creationId="{CD4187F2-910A-8619-E7A0-E3715DA1E5A5}"/>
          </ac:picMkLst>
        </pc:picChg>
        <pc:picChg chg="mod topLvl">
          <ac:chgData name="Darius Kuddo" userId="da7555aa-d650-4d73-b00b-d01e713f1329" providerId="ADAL" clId="{9A4B509C-EEE7-485A-994E-5919214B754D}" dt="2025-02-20T01:54:19.083" v="2221" actId="165"/>
          <ac:picMkLst>
            <pc:docMk/>
            <pc:sldMk cId="1682521381" sldId="1729"/>
            <ac:picMk id="103" creationId="{21824109-FAE4-84DA-7DA5-53DFB474FCC5}"/>
          </ac:picMkLst>
        </pc:picChg>
        <pc:picChg chg="mod topLvl">
          <ac:chgData name="Darius Kuddo" userId="da7555aa-d650-4d73-b00b-d01e713f1329" providerId="ADAL" clId="{9A4B509C-EEE7-485A-994E-5919214B754D}" dt="2025-02-20T01:54:19.083" v="2221" actId="165"/>
          <ac:picMkLst>
            <pc:docMk/>
            <pc:sldMk cId="1682521381" sldId="1729"/>
            <ac:picMk id="104" creationId="{CB537A55-44DE-E190-0AF7-44686D79EE27}"/>
          </ac:picMkLst>
        </pc:picChg>
        <pc:picChg chg="mod topLvl">
          <ac:chgData name="Darius Kuddo" userId="da7555aa-d650-4d73-b00b-d01e713f1329" providerId="ADAL" clId="{9A4B509C-EEE7-485A-994E-5919214B754D}" dt="2025-02-20T01:54:33.458" v="2222" actId="165"/>
          <ac:picMkLst>
            <pc:docMk/>
            <pc:sldMk cId="1682521381" sldId="1729"/>
            <ac:picMk id="108" creationId="{B1357B6C-06A3-0691-1E62-A0D61E6BB8B9}"/>
          </ac:picMkLst>
        </pc:picChg>
        <pc:picChg chg="mod topLvl">
          <ac:chgData name="Darius Kuddo" userId="da7555aa-d650-4d73-b00b-d01e713f1329" providerId="ADAL" clId="{9A4B509C-EEE7-485A-994E-5919214B754D}" dt="2025-02-20T01:54:33.458" v="2222" actId="165"/>
          <ac:picMkLst>
            <pc:docMk/>
            <pc:sldMk cId="1682521381" sldId="1729"/>
            <ac:picMk id="109" creationId="{74373F38-0917-7DF9-758F-03025EA97ACB}"/>
          </ac:picMkLst>
        </pc:picChg>
        <pc:picChg chg="mod topLvl">
          <ac:chgData name="Darius Kuddo" userId="da7555aa-d650-4d73-b00b-d01e713f1329" providerId="ADAL" clId="{9A4B509C-EEE7-485A-994E-5919214B754D}" dt="2025-02-20T01:54:19.083" v="2221" actId="165"/>
          <ac:picMkLst>
            <pc:docMk/>
            <pc:sldMk cId="1682521381" sldId="1729"/>
            <ac:picMk id="114" creationId="{F0C46AE8-C976-44A3-36BE-BB43EBA0279F}"/>
          </ac:picMkLst>
        </pc:picChg>
        <pc:picChg chg="mod topLvl">
          <ac:chgData name="Darius Kuddo" userId="da7555aa-d650-4d73-b00b-d01e713f1329" providerId="ADAL" clId="{9A4B509C-EEE7-485A-994E-5919214B754D}" dt="2025-02-20T01:54:19.083" v="2221" actId="165"/>
          <ac:picMkLst>
            <pc:docMk/>
            <pc:sldMk cId="1682521381" sldId="1729"/>
            <ac:picMk id="116" creationId="{706DA058-5142-58BC-4973-929322998462}"/>
          </ac:picMkLst>
        </pc:picChg>
        <pc:picChg chg="mod topLvl">
          <ac:chgData name="Darius Kuddo" userId="da7555aa-d650-4d73-b00b-d01e713f1329" providerId="ADAL" clId="{9A4B509C-EEE7-485A-994E-5919214B754D}" dt="2025-02-20T01:54:19.083" v="2221" actId="165"/>
          <ac:picMkLst>
            <pc:docMk/>
            <pc:sldMk cId="1682521381" sldId="1729"/>
            <ac:picMk id="117" creationId="{CD072EA7-63C9-1348-46BE-5A567635EAFF}"/>
          </ac:picMkLst>
        </pc:picChg>
        <pc:picChg chg="mod topLvl">
          <ac:chgData name="Darius Kuddo" userId="da7555aa-d650-4d73-b00b-d01e713f1329" providerId="ADAL" clId="{9A4B509C-EEE7-485A-994E-5919214B754D}" dt="2025-02-20T01:54:19.083" v="2221" actId="165"/>
          <ac:picMkLst>
            <pc:docMk/>
            <pc:sldMk cId="1682521381" sldId="1729"/>
            <ac:picMk id="122" creationId="{18ED87D4-3CF2-7826-0E7B-7D9FC4AA5461}"/>
          </ac:picMkLst>
        </pc:picChg>
        <pc:picChg chg="mod topLvl">
          <ac:chgData name="Darius Kuddo" userId="da7555aa-d650-4d73-b00b-d01e713f1329" providerId="ADAL" clId="{9A4B509C-EEE7-485A-994E-5919214B754D}" dt="2025-02-20T01:43:42.568" v="2053" actId="1076"/>
          <ac:picMkLst>
            <pc:docMk/>
            <pc:sldMk cId="1682521381" sldId="1729"/>
            <ac:picMk id="453" creationId="{FF27860C-A78B-EE2D-33BA-91FF4F947C54}"/>
          </ac:picMkLst>
        </pc:picChg>
        <pc:picChg chg="del mod topLvl">
          <ac:chgData name="Darius Kuddo" userId="da7555aa-d650-4d73-b00b-d01e713f1329" providerId="ADAL" clId="{9A4B509C-EEE7-485A-994E-5919214B754D}" dt="2025-02-20T01:46:06.034" v="2183" actId="478"/>
          <ac:picMkLst>
            <pc:docMk/>
            <pc:sldMk cId="1682521381" sldId="1729"/>
            <ac:picMk id="469" creationId="{45100420-4168-71B8-8AB0-0DA7651F0391}"/>
          </ac:picMkLst>
        </pc:picChg>
        <pc:picChg chg="del mod topLvl">
          <ac:chgData name="Darius Kuddo" userId="da7555aa-d650-4d73-b00b-d01e713f1329" providerId="ADAL" clId="{9A4B509C-EEE7-485A-994E-5919214B754D}" dt="2025-02-20T01:45:21.619" v="2100" actId="478"/>
          <ac:picMkLst>
            <pc:docMk/>
            <pc:sldMk cId="1682521381" sldId="1729"/>
            <ac:picMk id="470" creationId="{5880CE3B-1489-ADE4-D5D1-6DD6E73C6491}"/>
          </ac:picMkLst>
        </pc:picChg>
        <pc:picChg chg="del mod topLvl">
          <ac:chgData name="Darius Kuddo" userId="da7555aa-d650-4d73-b00b-d01e713f1329" providerId="ADAL" clId="{9A4B509C-EEE7-485A-994E-5919214B754D}" dt="2025-02-20T01:45:21.619" v="2100" actId="478"/>
          <ac:picMkLst>
            <pc:docMk/>
            <pc:sldMk cId="1682521381" sldId="1729"/>
            <ac:picMk id="471" creationId="{1C2F9066-256E-42F4-2C57-B09C7A8E78C3}"/>
          </ac:picMkLst>
        </pc:picChg>
        <pc:picChg chg="mod topLvl">
          <ac:chgData name="Darius Kuddo" userId="da7555aa-d650-4d73-b00b-d01e713f1329" providerId="ADAL" clId="{9A4B509C-EEE7-485A-994E-5919214B754D}" dt="2025-02-20T01:45:34.441" v="2140" actId="1038"/>
          <ac:picMkLst>
            <pc:docMk/>
            <pc:sldMk cId="1682521381" sldId="1729"/>
            <ac:picMk id="479" creationId="{685261AE-6289-5946-D1FB-219532288DD8}"/>
          </ac:picMkLst>
        </pc:picChg>
        <pc:picChg chg="del mod topLvl">
          <ac:chgData name="Darius Kuddo" userId="da7555aa-d650-4d73-b00b-d01e713f1329" providerId="ADAL" clId="{9A4B509C-EEE7-485A-994E-5919214B754D}" dt="2025-02-20T01:45:21.619" v="2100" actId="478"/>
          <ac:picMkLst>
            <pc:docMk/>
            <pc:sldMk cId="1682521381" sldId="1729"/>
            <ac:picMk id="480" creationId="{C263459A-428F-CCEB-61FF-EB0B2C8B23CE}"/>
          </ac:picMkLst>
        </pc:picChg>
        <pc:picChg chg="del mod topLvl">
          <ac:chgData name="Darius Kuddo" userId="da7555aa-d650-4d73-b00b-d01e713f1329" providerId="ADAL" clId="{9A4B509C-EEE7-485A-994E-5919214B754D}" dt="2025-02-20T01:45:21.619" v="2100" actId="478"/>
          <ac:picMkLst>
            <pc:docMk/>
            <pc:sldMk cId="1682521381" sldId="1729"/>
            <ac:picMk id="481" creationId="{B416CC9C-C65C-235C-AB40-3E5E96469F27}"/>
          </ac:picMkLst>
        </pc:picChg>
        <pc:picChg chg="mod topLvl">
          <ac:chgData name="Darius Kuddo" userId="da7555aa-d650-4d73-b00b-d01e713f1329" providerId="ADAL" clId="{9A4B509C-EEE7-485A-994E-5919214B754D}" dt="2025-02-20T01:45:37.406" v="2163" actId="1038"/>
          <ac:picMkLst>
            <pc:docMk/>
            <pc:sldMk cId="1682521381" sldId="1729"/>
            <ac:picMk id="492" creationId="{B0FC0A24-C4AC-4DC3-D2E3-66A8EC7CFB08}"/>
          </ac:picMkLst>
        </pc:picChg>
        <pc:picChg chg="del mod topLvl">
          <ac:chgData name="Darius Kuddo" userId="da7555aa-d650-4d73-b00b-d01e713f1329" providerId="ADAL" clId="{9A4B509C-EEE7-485A-994E-5919214B754D}" dt="2025-02-20T01:44:54.070" v="2081" actId="478"/>
          <ac:picMkLst>
            <pc:docMk/>
            <pc:sldMk cId="1682521381" sldId="1729"/>
            <ac:picMk id="500" creationId="{ECF57C24-BD86-20F5-1BAD-FB7E93670BA2}"/>
          </ac:picMkLst>
        </pc:picChg>
        <pc:picChg chg="del mod topLvl">
          <ac:chgData name="Darius Kuddo" userId="da7555aa-d650-4d73-b00b-d01e713f1329" providerId="ADAL" clId="{9A4B509C-EEE7-485A-994E-5919214B754D}" dt="2025-02-20T01:44:54.428" v="2082" actId="478"/>
          <ac:picMkLst>
            <pc:docMk/>
            <pc:sldMk cId="1682521381" sldId="1729"/>
            <ac:picMk id="501" creationId="{DC514054-8F4E-45BC-D8F0-F83A0C38E98D}"/>
          </ac:picMkLst>
        </pc:picChg>
        <pc:picChg chg="add mod">
          <ac:chgData name="Darius Kuddo" userId="da7555aa-d650-4d73-b00b-d01e713f1329" providerId="ADAL" clId="{9A4B509C-EEE7-485A-994E-5919214B754D}" dt="2025-02-20T01:45:03.061" v="2097" actId="1036"/>
          <ac:picMkLst>
            <pc:docMk/>
            <pc:sldMk cId="1682521381" sldId="1729"/>
            <ac:picMk id="506" creationId="{5A8CDA96-C022-662C-ABFD-E7D9E41C3C68}"/>
          </ac:picMkLst>
        </pc:picChg>
        <pc:picChg chg="add mod">
          <ac:chgData name="Darius Kuddo" userId="da7555aa-d650-4d73-b00b-d01e713f1329" providerId="ADAL" clId="{9A4B509C-EEE7-485A-994E-5919214B754D}" dt="2025-02-20T01:45:01.545" v="2092" actId="1036"/>
          <ac:picMkLst>
            <pc:docMk/>
            <pc:sldMk cId="1682521381" sldId="1729"/>
            <ac:picMk id="507" creationId="{B371AA45-9AF8-1990-A828-4E9B398E4497}"/>
          </ac:picMkLst>
        </pc:picChg>
        <pc:picChg chg="add mod">
          <ac:chgData name="Darius Kuddo" userId="da7555aa-d650-4d73-b00b-d01e713f1329" providerId="ADAL" clId="{9A4B509C-EEE7-485A-994E-5919214B754D}" dt="2025-02-20T01:45:47.339" v="2166" actId="12788"/>
          <ac:picMkLst>
            <pc:docMk/>
            <pc:sldMk cId="1682521381" sldId="1729"/>
            <ac:picMk id="508" creationId="{4058152F-C5A6-0743-164F-C627CDA305E9}"/>
          </ac:picMkLst>
        </pc:picChg>
        <pc:picChg chg="mod topLvl">
          <ac:chgData name="Darius Kuddo" userId="da7555aa-d650-4d73-b00b-d01e713f1329" providerId="ADAL" clId="{9A4B509C-EEE7-485A-994E-5919214B754D}" dt="2025-02-20T01:54:19.083" v="2221" actId="165"/>
          <ac:picMkLst>
            <pc:docMk/>
            <pc:sldMk cId="1682521381" sldId="1729"/>
            <ac:picMk id="510" creationId="{F3129CDD-AAB5-43C9-5E07-6301FD626B4F}"/>
          </ac:picMkLst>
        </pc:picChg>
        <pc:picChg chg="mod topLvl">
          <ac:chgData name="Darius Kuddo" userId="da7555aa-d650-4d73-b00b-d01e713f1329" providerId="ADAL" clId="{9A4B509C-EEE7-485A-994E-5919214B754D}" dt="2025-02-20T01:54:19.083" v="2221" actId="165"/>
          <ac:picMkLst>
            <pc:docMk/>
            <pc:sldMk cId="1682521381" sldId="1729"/>
            <ac:picMk id="533" creationId="{B6DD56F2-E682-D46E-818D-A1F189B48DFB}"/>
          </ac:picMkLst>
        </pc:picChg>
        <pc:picChg chg="mod topLvl">
          <ac:chgData name="Darius Kuddo" userId="da7555aa-d650-4d73-b00b-d01e713f1329" providerId="ADAL" clId="{9A4B509C-EEE7-485A-994E-5919214B754D}" dt="2025-02-20T01:54:19.083" v="2221" actId="165"/>
          <ac:picMkLst>
            <pc:docMk/>
            <pc:sldMk cId="1682521381" sldId="1729"/>
            <ac:picMk id="534" creationId="{38C5C59C-D448-C8CE-1583-BEFE5CFEC131}"/>
          </ac:picMkLst>
        </pc:picChg>
        <pc:picChg chg="mod topLvl">
          <ac:chgData name="Darius Kuddo" userId="da7555aa-d650-4d73-b00b-d01e713f1329" providerId="ADAL" clId="{9A4B509C-EEE7-485A-994E-5919214B754D}" dt="2025-02-20T01:54:19.083" v="2221" actId="165"/>
          <ac:picMkLst>
            <pc:docMk/>
            <pc:sldMk cId="1682521381" sldId="1729"/>
            <ac:picMk id="535" creationId="{23599E60-61C6-7239-50FC-3D7B790E44BD}"/>
          </ac:picMkLst>
        </pc:picChg>
        <pc:picChg chg="mod">
          <ac:chgData name="Darius Kuddo" userId="da7555aa-d650-4d73-b00b-d01e713f1329" providerId="ADAL" clId="{9A4B509C-EEE7-485A-994E-5919214B754D}" dt="2025-02-20T01:42:03.876" v="2009" actId="164"/>
          <ac:picMkLst>
            <pc:docMk/>
            <pc:sldMk cId="1682521381" sldId="1729"/>
            <ac:picMk id="542" creationId="{E6534562-6CA8-9A0E-BF67-26564BC9ED98}"/>
          </ac:picMkLst>
        </pc:picChg>
        <pc:picChg chg="mod">
          <ac:chgData name="Darius Kuddo" userId="da7555aa-d650-4d73-b00b-d01e713f1329" providerId="ADAL" clId="{9A4B509C-EEE7-485A-994E-5919214B754D}" dt="2025-02-20T01:42:03.876" v="2009" actId="164"/>
          <ac:picMkLst>
            <pc:docMk/>
            <pc:sldMk cId="1682521381" sldId="1729"/>
            <ac:picMk id="543" creationId="{9EEDD22D-1B4D-384B-3083-AED820E914B7}"/>
          </ac:picMkLst>
        </pc:picChg>
        <pc:picChg chg="del">
          <ac:chgData name="Darius Kuddo" userId="da7555aa-d650-4d73-b00b-d01e713f1329" providerId="ADAL" clId="{9A4B509C-EEE7-485A-994E-5919214B754D}" dt="2025-02-20T01:41:00.498" v="1996" actId="478"/>
          <ac:picMkLst>
            <pc:docMk/>
            <pc:sldMk cId="1682521381" sldId="1729"/>
            <ac:picMk id="548" creationId="{86647836-3D1E-10C7-D352-971733CD762E}"/>
          </ac:picMkLst>
        </pc:picChg>
        <pc:picChg chg="del">
          <ac:chgData name="Darius Kuddo" userId="da7555aa-d650-4d73-b00b-d01e713f1329" providerId="ADAL" clId="{9A4B509C-EEE7-485A-994E-5919214B754D}" dt="2025-02-20T01:41:00.498" v="1996" actId="478"/>
          <ac:picMkLst>
            <pc:docMk/>
            <pc:sldMk cId="1682521381" sldId="1729"/>
            <ac:picMk id="549" creationId="{8CCAF7AF-045E-0059-03CA-C850ABAA661F}"/>
          </ac:picMkLst>
        </pc:picChg>
      </pc:sldChg>
      <pc:sldChg chg="delSp modSp add mod">
        <pc:chgData name="Darius Kuddo" userId="da7555aa-d650-4d73-b00b-d01e713f1329" providerId="ADAL" clId="{9A4B509C-EEE7-485A-994E-5919214B754D}" dt="2025-02-20T18:40:34.096" v="4976" actId="1035"/>
        <pc:sldMkLst>
          <pc:docMk/>
          <pc:sldMk cId="2079882386" sldId="1730"/>
        </pc:sldMkLst>
        <pc:spChg chg="mod topLvl">
          <ac:chgData name="Darius Kuddo" userId="da7555aa-d650-4d73-b00b-d01e713f1329" providerId="ADAL" clId="{9A4B509C-EEE7-485A-994E-5919214B754D}" dt="2025-02-20T01:52:04.057" v="2204" actId="165"/>
          <ac:spMkLst>
            <pc:docMk/>
            <pc:sldMk cId="2079882386" sldId="1730"/>
            <ac:spMk id="192" creationId="{CD72C414-7D11-FB60-E5E0-F6F72D19AF23}"/>
          </ac:spMkLst>
        </pc:spChg>
        <pc:spChg chg="del mod topLvl">
          <ac:chgData name="Darius Kuddo" userId="da7555aa-d650-4d73-b00b-d01e713f1329" providerId="ADAL" clId="{9A4B509C-EEE7-485A-994E-5919214B754D}" dt="2025-02-20T01:54:09.850" v="2220" actId="478"/>
          <ac:spMkLst>
            <pc:docMk/>
            <pc:sldMk cId="2079882386" sldId="1730"/>
            <ac:spMk id="193" creationId="{24F4DAE9-9C7B-29A5-9CFF-EAB64B9FF1AC}"/>
          </ac:spMkLst>
        </pc:spChg>
        <pc:spChg chg="mod topLvl">
          <ac:chgData name="Darius Kuddo" userId="da7555aa-d650-4d73-b00b-d01e713f1329" providerId="ADAL" clId="{9A4B509C-EEE7-485A-994E-5919214B754D}" dt="2025-02-20T01:52:04.057" v="2204" actId="165"/>
          <ac:spMkLst>
            <pc:docMk/>
            <pc:sldMk cId="2079882386" sldId="1730"/>
            <ac:spMk id="194" creationId="{9DC164FE-55AC-9F64-F4B0-2E1C3C9D3A6F}"/>
          </ac:spMkLst>
        </pc:spChg>
        <pc:spChg chg="mod topLvl">
          <ac:chgData name="Darius Kuddo" userId="da7555aa-d650-4d73-b00b-d01e713f1329" providerId="ADAL" clId="{9A4B509C-EEE7-485A-994E-5919214B754D}" dt="2025-02-20T01:52:04.057" v="2204" actId="165"/>
          <ac:spMkLst>
            <pc:docMk/>
            <pc:sldMk cId="2079882386" sldId="1730"/>
            <ac:spMk id="195" creationId="{9C11D831-5D27-5852-F3F8-D77873FD7DE8}"/>
          </ac:spMkLst>
        </pc:spChg>
        <pc:spChg chg="mod topLvl">
          <ac:chgData name="Darius Kuddo" userId="da7555aa-d650-4d73-b00b-d01e713f1329" providerId="ADAL" clId="{9A4B509C-EEE7-485A-994E-5919214B754D}" dt="2025-02-20T01:52:04.057" v="2204" actId="165"/>
          <ac:spMkLst>
            <pc:docMk/>
            <pc:sldMk cId="2079882386" sldId="1730"/>
            <ac:spMk id="197" creationId="{C1C73B4F-A556-2A8A-C402-806AC2D1ADAF}"/>
          </ac:spMkLst>
        </pc:spChg>
        <pc:spChg chg="mod ord topLvl">
          <ac:chgData name="Darius Kuddo" userId="da7555aa-d650-4d73-b00b-d01e713f1329" providerId="ADAL" clId="{9A4B509C-EEE7-485A-994E-5919214B754D}" dt="2025-02-20T01:53:12.869" v="2218" actId="167"/>
          <ac:spMkLst>
            <pc:docMk/>
            <pc:sldMk cId="2079882386" sldId="1730"/>
            <ac:spMk id="198" creationId="{5DA69B38-AAFC-736F-289A-A838EE6FAFDE}"/>
          </ac:spMkLst>
        </pc:spChg>
        <pc:spChg chg="mod topLvl">
          <ac:chgData name="Darius Kuddo" userId="da7555aa-d650-4d73-b00b-d01e713f1329" providerId="ADAL" clId="{9A4B509C-EEE7-485A-994E-5919214B754D}" dt="2025-02-20T01:52:04.057" v="2204" actId="165"/>
          <ac:spMkLst>
            <pc:docMk/>
            <pc:sldMk cId="2079882386" sldId="1730"/>
            <ac:spMk id="199" creationId="{E4F77AA9-F527-4EF8-0C31-8F1DC13DC164}"/>
          </ac:spMkLst>
        </pc:spChg>
        <pc:spChg chg="del mod topLvl">
          <ac:chgData name="Darius Kuddo" userId="da7555aa-d650-4d73-b00b-d01e713f1329" providerId="ADAL" clId="{9A4B509C-EEE7-485A-994E-5919214B754D}" dt="2025-02-20T01:54:09.850" v="2220" actId="478"/>
          <ac:spMkLst>
            <pc:docMk/>
            <pc:sldMk cId="2079882386" sldId="1730"/>
            <ac:spMk id="200" creationId="{56A84C0C-70DF-8D41-5B94-0D960C7DC11D}"/>
          </ac:spMkLst>
        </pc:spChg>
        <pc:spChg chg="mod topLvl">
          <ac:chgData name="Darius Kuddo" userId="da7555aa-d650-4d73-b00b-d01e713f1329" providerId="ADAL" clId="{9A4B509C-EEE7-485A-994E-5919214B754D}" dt="2025-02-20T01:52:04.057" v="2204" actId="165"/>
          <ac:spMkLst>
            <pc:docMk/>
            <pc:sldMk cId="2079882386" sldId="1730"/>
            <ac:spMk id="201" creationId="{0005EF0A-A8D5-F6A9-30E4-3C4481F16D2E}"/>
          </ac:spMkLst>
        </pc:spChg>
        <pc:spChg chg="mod topLvl">
          <ac:chgData name="Darius Kuddo" userId="da7555aa-d650-4d73-b00b-d01e713f1329" providerId="ADAL" clId="{9A4B509C-EEE7-485A-994E-5919214B754D}" dt="2025-02-20T01:52:04.057" v="2204" actId="165"/>
          <ac:spMkLst>
            <pc:docMk/>
            <pc:sldMk cId="2079882386" sldId="1730"/>
            <ac:spMk id="202" creationId="{9E8F1E6B-F822-0C5B-9620-AC44636C3C05}"/>
          </ac:spMkLst>
        </pc:spChg>
        <pc:spChg chg="mod ord">
          <ac:chgData name="Darius Kuddo" userId="da7555aa-d650-4d73-b00b-d01e713f1329" providerId="ADAL" clId="{9A4B509C-EEE7-485A-994E-5919214B754D}" dt="2025-02-20T01:53:12.869" v="2218" actId="167"/>
          <ac:spMkLst>
            <pc:docMk/>
            <pc:sldMk cId="2079882386" sldId="1730"/>
            <ac:spMk id="212" creationId="{36382740-63AD-FBDB-52D3-F39AA1AE81B6}"/>
          </ac:spMkLst>
        </pc:spChg>
        <pc:spChg chg="del">
          <ac:chgData name="Darius Kuddo" userId="da7555aa-d650-4d73-b00b-d01e713f1329" providerId="ADAL" clId="{9A4B509C-EEE7-485A-994E-5919214B754D}" dt="2025-02-20T01:54:09.850" v="2220" actId="478"/>
          <ac:spMkLst>
            <pc:docMk/>
            <pc:sldMk cId="2079882386" sldId="1730"/>
            <ac:spMk id="214" creationId="{FFC083DD-B82F-A6FF-B5F0-FAD3ECD83E82}"/>
          </ac:spMkLst>
        </pc:spChg>
        <pc:spChg chg="mod ord">
          <ac:chgData name="Darius Kuddo" userId="da7555aa-d650-4d73-b00b-d01e713f1329" providerId="ADAL" clId="{9A4B509C-EEE7-485A-994E-5919214B754D}" dt="2025-02-20T01:53:12.869" v="2218" actId="167"/>
          <ac:spMkLst>
            <pc:docMk/>
            <pc:sldMk cId="2079882386" sldId="1730"/>
            <ac:spMk id="215" creationId="{4630E6EB-C95F-DE04-E1A8-6E42F64F6256}"/>
          </ac:spMkLst>
        </pc:spChg>
        <pc:spChg chg="del">
          <ac:chgData name="Darius Kuddo" userId="da7555aa-d650-4d73-b00b-d01e713f1329" providerId="ADAL" clId="{9A4B509C-EEE7-485A-994E-5919214B754D}" dt="2025-02-20T01:54:09.850" v="2220" actId="478"/>
          <ac:spMkLst>
            <pc:docMk/>
            <pc:sldMk cId="2079882386" sldId="1730"/>
            <ac:spMk id="217" creationId="{65344A08-83CC-B066-C22F-F0FD46BBC768}"/>
          </ac:spMkLst>
        </pc:spChg>
        <pc:spChg chg="mod ord">
          <ac:chgData name="Darius Kuddo" userId="da7555aa-d650-4d73-b00b-d01e713f1329" providerId="ADAL" clId="{9A4B509C-EEE7-485A-994E-5919214B754D}" dt="2025-02-20T01:53:12.869" v="2218" actId="167"/>
          <ac:spMkLst>
            <pc:docMk/>
            <pc:sldMk cId="2079882386" sldId="1730"/>
            <ac:spMk id="218" creationId="{FD1572EB-315C-D5AD-AF27-0B261FBEA92D}"/>
          </ac:spMkLst>
        </pc:spChg>
        <pc:spChg chg="del">
          <ac:chgData name="Darius Kuddo" userId="da7555aa-d650-4d73-b00b-d01e713f1329" providerId="ADAL" clId="{9A4B509C-EEE7-485A-994E-5919214B754D}" dt="2025-02-20T01:54:09.850" v="2220" actId="478"/>
          <ac:spMkLst>
            <pc:docMk/>
            <pc:sldMk cId="2079882386" sldId="1730"/>
            <ac:spMk id="220" creationId="{9C4EF421-F7DB-93B5-ADD0-16B1487B459F}"/>
          </ac:spMkLst>
        </pc:spChg>
        <pc:spChg chg="mod ord">
          <ac:chgData name="Darius Kuddo" userId="da7555aa-d650-4d73-b00b-d01e713f1329" providerId="ADAL" clId="{9A4B509C-EEE7-485A-994E-5919214B754D}" dt="2025-02-20T01:53:12.869" v="2218" actId="167"/>
          <ac:spMkLst>
            <pc:docMk/>
            <pc:sldMk cId="2079882386" sldId="1730"/>
            <ac:spMk id="231" creationId="{AE0EAA87-D7CE-54C1-87C3-21A128199DE3}"/>
          </ac:spMkLst>
        </pc:spChg>
        <pc:spChg chg="del">
          <ac:chgData name="Darius Kuddo" userId="da7555aa-d650-4d73-b00b-d01e713f1329" providerId="ADAL" clId="{9A4B509C-EEE7-485A-994E-5919214B754D}" dt="2025-02-20T01:54:09.850" v="2220" actId="478"/>
          <ac:spMkLst>
            <pc:docMk/>
            <pc:sldMk cId="2079882386" sldId="1730"/>
            <ac:spMk id="233" creationId="{456EF916-9BC1-87F0-EA23-E7F151FE2611}"/>
          </ac:spMkLst>
        </pc:spChg>
        <pc:spChg chg="mod topLvl">
          <ac:chgData name="Darius Kuddo" userId="da7555aa-d650-4d73-b00b-d01e713f1329" providerId="ADAL" clId="{9A4B509C-EEE7-485A-994E-5919214B754D}" dt="2025-02-20T01:52:04.057" v="2204" actId="165"/>
          <ac:spMkLst>
            <pc:docMk/>
            <pc:sldMk cId="2079882386" sldId="1730"/>
            <ac:spMk id="245" creationId="{6E4FBF71-34FC-DEA0-6AA2-652051EBDA89}"/>
          </ac:spMkLst>
        </pc:spChg>
        <pc:spChg chg="mod topLvl">
          <ac:chgData name="Darius Kuddo" userId="da7555aa-d650-4d73-b00b-d01e713f1329" providerId="ADAL" clId="{9A4B509C-EEE7-485A-994E-5919214B754D}" dt="2025-02-20T01:52:04.057" v="2204" actId="165"/>
          <ac:spMkLst>
            <pc:docMk/>
            <pc:sldMk cId="2079882386" sldId="1730"/>
            <ac:spMk id="246" creationId="{60CD5D52-4D77-A94D-64DA-A0C2F59DFD6D}"/>
          </ac:spMkLst>
        </pc:spChg>
        <pc:spChg chg="mod ord topLvl">
          <ac:chgData name="Darius Kuddo" userId="da7555aa-d650-4d73-b00b-d01e713f1329" providerId="ADAL" clId="{9A4B509C-EEE7-485A-994E-5919214B754D}" dt="2025-02-20T01:53:12.869" v="2218" actId="167"/>
          <ac:spMkLst>
            <pc:docMk/>
            <pc:sldMk cId="2079882386" sldId="1730"/>
            <ac:spMk id="247" creationId="{16645772-DDFE-0506-1253-26508CE0E779}"/>
          </ac:spMkLst>
        </pc:spChg>
        <pc:spChg chg="mod topLvl">
          <ac:chgData name="Darius Kuddo" userId="da7555aa-d650-4d73-b00b-d01e713f1329" providerId="ADAL" clId="{9A4B509C-EEE7-485A-994E-5919214B754D}" dt="2025-02-20T18:40:17.532" v="4965" actId="108"/>
          <ac:spMkLst>
            <pc:docMk/>
            <pc:sldMk cId="2079882386" sldId="1730"/>
            <ac:spMk id="248" creationId="{B14350EA-3C33-810A-1243-5AAA36329249}"/>
          </ac:spMkLst>
        </pc:spChg>
        <pc:spChg chg="del mod topLvl">
          <ac:chgData name="Darius Kuddo" userId="da7555aa-d650-4d73-b00b-d01e713f1329" providerId="ADAL" clId="{9A4B509C-EEE7-485A-994E-5919214B754D}" dt="2025-02-20T01:54:09.850" v="2220" actId="478"/>
          <ac:spMkLst>
            <pc:docMk/>
            <pc:sldMk cId="2079882386" sldId="1730"/>
            <ac:spMk id="249" creationId="{550CE720-2128-C927-5411-3490A7FA28CB}"/>
          </ac:spMkLst>
        </pc:spChg>
        <pc:spChg chg="mod topLvl">
          <ac:chgData name="Darius Kuddo" userId="da7555aa-d650-4d73-b00b-d01e713f1329" providerId="ADAL" clId="{9A4B509C-EEE7-485A-994E-5919214B754D}" dt="2025-02-20T01:52:07.698" v="2205" actId="165"/>
          <ac:spMkLst>
            <pc:docMk/>
            <pc:sldMk cId="2079882386" sldId="1730"/>
            <ac:spMk id="255" creationId="{0D7C1006-2653-BEB8-CB8A-E442C70F1094}"/>
          </ac:spMkLst>
        </pc:spChg>
        <pc:spChg chg="mod topLvl">
          <ac:chgData name="Darius Kuddo" userId="da7555aa-d650-4d73-b00b-d01e713f1329" providerId="ADAL" clId="{9A4B509C-EEE7-485A-994E-5919214B754D}" dt="2025-02-20T01:52:04.057" v="2204" actId="165"/>
          <ac:spMkLst>
            <pc:docMk/>
            <pc:sldMk cId="2079882386" sldId="1730"/>
            <ac:spMk id="256" creationId="{ACE6D44E-8A4D-2333-A142-FCDA13A1460D}"/>
          </ac:spMkLst>
        </pc:spChg>
        <pc:spChg chg="mod topLvl">
          <ac:chgData name="Darius Kuddo" userId="da7555aa-d650-4d73-b00b-d01e713f1329" providerId="ADAL" clId="{9A4B509C-EEE7-485A-994E-5919214B754D}" dt="2025-02-20T01:52:04.057" v="2204" actId="165"/>
          <ac:spMkLst>
            <pc:docMk/>
            <pc:sldMk cId="2079882386" sldId="1730"/>
            <ac:spMk id="258" creationId="{9434422E-5848-B3F6-5BC8-BFD622C4B20E}"/>
          </ac:spMkLst>
        </pc:spChg>
        <pc:spChg chg="mod topLvl">
          <ac:chgData name="Darius Kuddo" userId="da7555aa-d650-4d73-b00b-d01e713f1329" providerId="ADAL" clId="{9A4B509C-EEE7-485A-994E-5919214B754D}" dt="2025-02-20T01:52:04.057" v="2204" actId="165"/>
          <ac:spMkLst>
            <pc:docMk/>
            <pc:sldMk cId="2079882386" sldId="1730"/>
            <ac:spMk id="260" creationId="{589875EE-84BC-33FF-5C7E-C99C66B47DA6}"/>
          </ac:spMkLst>
        </pc:spChg>
        <pc:spChg chg="mod topLvl">
          <ac:chgData name="Darius Kuddo" userId="da7555aa-d650-4d73-b00b-d01e713f1329" providerId="ADAL" clId="{9A4B509C-EEE7-485A-994E-5919214B754D}" dt="2025-02-20T01:52:04.057" v="2204" actId="165"/>
          <ac:spMkLst>
            <pc:docMk/>
            <pc:sldMk cId="2079882386" sldId="1730"/>
            <ac:spMk id="261" creationId="{21703395-E236-C053-4144-099E73731983}"/>
          </ac:spMkLst>
        </pc:spChg>
        <pc:spChg chg="mod topLvl">
          <ac:chgData name="Darius Kuddo" userId="da7555aa-d650-4d73-b00b-d01e713f1329" providerId="ADAL" clId="{9A4B509C-EEE7-485A-994E-5919214B754D}" dt="2025-02-20T01:52:04.057" v="2204" actId="165"/>
          <ac:spMkLst>
            <pc:docMk/>
            <pc:sldMk cId="2079882386" sldId="1730"/>
            <ac:spMk id="262" creationId="{9B9CFA69-1331-D2A8-A3E1-031F07B8AE79}"/>
          </ac:spMkLst>
        </pc:spChg>
        <pc:spChg chg="mod topLvl">
          <ac:chgData name="Darius Kuddo" userId="da7555aa-d650-4d73-b00b-d01e713f1329" providerId="ADAL" clId="{9A4B509C-EEE7-485A-994E-5919214B754D}" dt="2025-02-20T01:52:04.057" v="2204" actId="165"/>
          <ac:spMkLst>
            <pc:docMk/>
            <pc:sldMk cId="2079882386" sldId="1730"/>
            <ac:spMk id="263" creationId="{F5592DB2-42CB-2C0D-932D-FE821316580E}"/>
          </ac:spMkLst>
        </pc:spChg>
        <pc:spChg chg="mod topLvl">
          <ac:chgData name="Darius Kuddo" userId="da7555aa-d650-4d73-b00b-d01e713f1329" providerId="ADAL" clId="{9A4B509C-EEE7-485A-994E-5919214B754D}" dt="2025-02-20T01:52:04.057" v="2204" actId="165"/>
          <ac:spMkLst>
            <pc:docMk/>
            <pc:sldMk cId="2079882386" sldId="1730"/>
            <ac:spMk id="264" creationId="{C9FF2918-D747-E6F8-2053-D3A2D03FED3F}"/>
          </ac:spMkLst>
        </pc:spChg>
        <pc:spChg chg="mod ord topLvl">
          <ac:chgData name="Darius Kuddo" userId="da7555aa-d650-4d73-b00b-d01e713f1329" providerId="ADAL" clId="{9A4B509C-EEE7-485A-994E-5919214B754D}" dt="2025-02-20T01:53:12.869" v="2218" actId="167"/>
          <ac:spMkLst>
            <pc:docMk/>
            <pc:sldMk cId="2079882386" sldId="1730"/>
            <ac:spMk id="266" creationId="{B39C56A2-63C5-50E0-C550-1836E4EE85E8}"/>
          </ac:spMkLst>
        </pc:spChg>
        <pc:spChg chg="mod topLvl">
          <ac:chgData name="Darius Kuddo" userId="da7555aa-d650-4d73-b00b-d01e713f1329" providerId="ADAL" clId="{9A4B509C-EEE7-485A-994E-5919214B754D}" dt="2025-02-20T18:40:21.934" v="4967" actId="108"/>
          <ac:spMkLst>
            <pc:docMk/>
            <pc:sldMk cId="2079882386" sldId="1730"/>
            <ac:spMk id="267" creationId="{4AE2A9BB-410E-2129-F7D7-7034B40E9975}"/>
          </ac:spMkLst>
        </pc:spChg>
        <pc:spChg chg="del mod topLvl">
          <ac:chgData name="Darius Kuddo" userId="da7555aa-d650-4d73-b00b-d01e713f1329" providerId="ADAL" clId="{9A4B509C-EEE7-485A-994E-5919214B754D}" dt="2025-02-20T01:54:09.850" v="2220" actId="478"/>
          <ac:spMkLst>
            <pc:docMk/>
            <pc:sldMk cId="2079882386" sldId="1730"/>
            <ac:spMk id="268" creationId="{770DBC0E-ED32-C9CE-FAAF-B3F02BCEDB45}"/>
          </ac:spMkLst>
        </pc:spChg>
        <pc:spChg chg="mod topLvl">
          <ac:chgData name="Darius Kuddo" userId="da7555aa-d650-4d73-b00b-d01e713f1329" providerId="ADAL" clId="{9A4B509C-EEE7-485A-994E-5919214B754D}" dt="2025-02-20T01:52:04.057" v="2204" actId="165"/>
          <ac:spMkLst>
            <pc:docMk/>
            <pc:sldMk cId="2079882386" sldId="1730"/>
            <ac:spMk id="269" creationId="{199417F4-B792-7D81-3D14-E006D17C122F}"/>
          </ac:spMkLst>
        </pc:spChg>
        <pc:spChg chg="mod topLvl">
          <ac:chgData name="Darius Kuddo" userId="da7555aa-d650-4d73-b00b-d01e713f1329" providerId="ADAL" clId="{9A4B509C-EEE7-485A-994E-5919214B754D}" dt="2025-02-20T01:52:04.057" v="2204" actId="165"/>
          <ac:spMkLst>
            <pc:docMk/>
            <pc:sldMk cId="2079882386" sldId="1730"/>
            <ac:spMk id="270" creationId="{40EB05AC-40EB-ECFE-80A4-86E3BBC1E662}"/>
          </ac:spMkLst>
        </pc:spChg>
        <pc:spChg chg="mod topLvl">
          <ac:chgData name="Darius Kuddo" userId="da7555aa-d650-4d73-b00b-d01e713f1329" providerId="ADAL" clId="{9A4B509C-EEE7-485A-994E-5919214B754D}" dt="2025-02-20T01:52:04.057" v="2204" actId="165"/>
          <ac:spMkLst>
            <pc:docMk/>
            <pc:sldMk cId="2079882386" sldId="1730"/>
            <ac:spMk id="271" creationId="{E82F22F3-40D9-9764-C85E-62E3C112A9FB}"/>
          </ac:spMkLst>
        </pc:spChg>
        <pc:spChg chg="mod topLvl">
          <ac:chgData name="Darius Kuddo" userId="da7555aa-d650-4d73-b00b-d01e713f1329" providerId="ADAL" clId="{9A4B509C-EEE7-485A-994E-5919214B754D}" dt="2025-02-20T01:52:04.057" v="2204" actId="165"/>
          <ac:spMkLst>
            <pc:docMk/>
            <pc:sldMk cId="2079882386" sldId="1730"/>
            <ac:spMk id="272" creationId="{C147E786-398C-9D33-CBCD-798F1F1B3019}"/>
          </ac:spMkLst>
        </pc:spChg>
        <pc:spChg chg="mod topLvl">
          <ac:chgData name="Darius Kuddo" userId="da7555aa-d650-4d73-b00b-d01e713f1329" providerId="ADAL" clId="{9A4B509C-EEE7-485A-994E-5919214B754D}" dt="2025-02-20T01:52:04.057" v="2204" actId="165"/>
          <ac:spMkLst>
            <pc:docMk/>
            <pc:sldMk cId="2079882386" sldId="1730"/>
            <ac:spMk id="273" creationId="{3CA9A5B8-E424-FB30-EE75-EAFF67659336}"/>
          </ac:spMkLst>
        </pc:spChg>
        <pc:spChg chg="mod topLvl">
          <ac:chgData name="Darius Kuddo" userId="da7555aa-d650-4d73-b00b-d01e713f1329" providerId="ADAL" clId="{9A4B509C-EEE7-485A-994E-5919214B754D}" dt="2025-02-20T01:52:04.057" v="2204" actId="165"/>
          <ac:spMkLst>
            <pc:docMk/>
            <pc:sldMk cId="2079882386" sldId="1730"/>
            <ac:spMk id="274" creationId="{3D01069F-A955-B4D3-606F-741D68BAF2FE}"/>
          </ac:spMkLst>
        </pc:spChg>
        <pc:spChg chg="mod topLvl">
          <ac:chgData name="Darius Kuddo" userId="da7555aa-d650-4d73-b00b-d01e713f1329" providerId="ADAL" clId="{9A4B509C-EEE7-485A-994E-5919214B754D}" dt="2025-02-20T01:52:04.057" v="2204" actId="165"/>
          <ac:spMkLst>
            <pc:docMk/>
            <pc:sldMk cId="2079882386" sldId="1730"/>
            <ac:spMk id="275" creationId="{B023125F-F273-B80B-F9D7-77A187DBDEC0}"/>
          </ac:spMkLst>
        </pc:spChg>
        <pc:spChg chg="mod topLvl">
          <ac:chgData name="Darius Kuddo" userId="da7555aa-d650-4d73-b00b-d01e713f1329" providerId="ADAL" clId="{9A4B509C-EEE7-485A-994E-5919214B754D}" dt="2025-02-20T01:52:04.057" v="2204" actId="165"/>
          <ac:spMkLst>
            <pc:docMk/>
            <pc:sldMk cId="2079882386" sldId="1730"/>
            <ac:spMk id="276" creationId="{1A54763B-03B5-BCF6-5D0E-2EC9C9EF75A6}"/>
          </ac:spMkLst>
        </pc:spChg>
        <pc:spChg chg="mod topLvl">
          <ac:chgData name="Darius Kuddo" userId="da7555aa-d650-4d73-b00b-d01e713f1329" providerId="ADAL" clId="{9A4B509C-EEE7-485A-994E-5919214B754D}" dt="2025-02-20T01:52:04.057" v="2204" actId="165"/>
          <ac:spMkLst>
            <pc:docMk/>
            <pc:sldMk cId="2079882386" sldId="1730"/>
            <ac:spMk id="277" creationId="{3536347E-5121-484C-68EB-C4B03C2EFEE1}"/>
          </ac:spMkLst>
        </pc:spChg>
        <pc:spChg chg="mod topLvl">
          <ac:chgData name="Darius Kuddo" userId="da7555aa-d650-4d73-b00b-d01e713f1329" providerId="ADAL" clId="{9A4B509C-EEE7-485A-994E-5919214B754D}" dt="2025-02-20T01:52:04.057" v="2204" actId="165"/>
          <ac:spMkLst>
            <pc:docMk/>
            <pc:sldMk cId="2079882386" sldId="1730"/>
            <ac:spMk id="278" creationId="{F03D0BCA-EAF7-A7B2-2E0A-F85B736D3B43}"/>
          </ac:spMkLst>
        </pc:spChg>
        <pc:spChg chg="mod topLvl">
          <ac:chgData name="Darius Kuddo" userId="da7555aa-d650-4d73-b00b-d01e713f1329" providerId="ADAL" clId="{9A4B509C-EEE7-485A-994E-5919214B754D}" dt="2025-02-20T01:52:04.057" v="2204" actId="165"/>
          <ac:spMkLst>
            <pc:docMk/>
            <pc:sldMk cId="2079882386" sldId="1730"/>
            <ac:spMk id="279" creationId="{B7A9CBC0-1604-5CD5-6A24-EA645593C5E9}"/>
          </ac:spMkLst>
        </pc:spChg>
        <pc:spChg chg="mod topLvl">
          <ac:chgData name="Darius Kuddo" userId="da7555aa-d650-4d73-b00b-d01e713f1329" providerId="ADAL" clId="{9A4B509C-EEE7-485A-994E-5919214B754D}" dt="2025-02-20T01:52:04.057" v="2204" actId="165"/>
          <ac:spMkLst>
            <pc:docMk/>
            <pc:sldMk cId="2079882386" sldId="1730"/>
            <ac:spMk id="280" creationId="{4D4FDA00-0514-AF52-0C83-996891D94550}"/>
          </ac:spMkLst>
        </pc:spChg>
        <pc:spChg chg="mod topLvl">
          <ac:chgData name="Darius Kuddo" userId="da7555aa-d650-4d73-b00b-d01e713f1329" providerId="ADAL" clId="{9A4B509C-EEE7-485A-994E-5919214B754D}" dt="2025-02-20T01:52:04.057" v="2204" actId="165"/>
          <ac:spMkLst>
            <pc:docMk/>
            <pc:sldMk cId="2079882386" sldId="1730"/>
            <ac:spMk id="282" creationId="{F6B439C6-1CD4-7B31-77F7-C581923356D7}"/>
          </ac:spMkLst>
        </pc:spChg>
        <pc:spChg chg="mod topLvl">
          <ac:chgData name="Darius Kuddo" userId="da7555aa-d650-4d73-b00b-d01e713f1329" providerId="ADAL" clId="{9A4B509C-EEE7-485A-994E-5919214B754D}" dt="2025-02-20T01:52:04.057" v="2204" actId="165"/>
          <ac:spMkLst>
            <pc:docMk/>
            <pc:sldMk cId="2079882386" sldId="1730"/>
            <ac:spMk id="283" creationId="{55A73B74-DAFD-DD07-172E-64BADD44230B}"/>
          </ac:spMkLst>
        </pc:spChg>
        <pc:spChg chg="mod topLvl">
          <ac:chgData name="Darius Kuddo" userId="da7555aa-d650-4d73-b00b-d01e713f1329" providerId="ADAL" clId="{9A4B509C-EEE7-485A-994E-5919214B754D}" dt="2025-02-20T01:52:04.057" v="2204" actId="165"/>
          <ac:spMkLst>
            <pc:docMk/>
            <pc:sldMk cId="2079882386" sldId="1730"/>
            <ac:spMk id="284" creationId="{A2AEE6CF-1546-0BC0-9F7D-B785F480B39A}"/>
          </ac:spMkLst>
        </pc:spChg>
        <pc:spChg chg="mod topLvl">
          <ac:chgData name="Darius Kuddo" userId="da7555aa-d650-4d73-b00b-d01e713f1329" providerId="ADAL" clId="{9A4B509C-EEE7-485A-994E-5919214B754D}" dt="2025-02-20T01:52:04.057" v="2204" actId="165"/>
          <ac:spMkLst>
            <pc:docMk/>
            <pc:sldMk cId="2079882386" sldId="1730"/>
            <ac:spMk id="285" creationId="{4B508E38-9635-CD3B-E81A-F1B8CDF04631}"/>
          </ac:spMkLst>
        </pc:spChg>
        <pc:spChg chg="mod topLvl">
          <ac:chgData name="Darius Kuddo" userId="da7555aa-d650-4d73-b00b-d01e713f1329" providerId="ADAL" clId="{9A4B509C-EEE7-485A-994E-5919214B754D}" dt="2025-02-20T01:52:04.057" v="2204" actId="165"/>
          <ac:spMkLst>
            <pc:docMk/>
            <pc:sldMk cId="2079882386" sldId="1730"/>
            <ac:spMk id="286" creationId="{31E1535B-25B5-C5F9-3A50-B5AD2B82F037}"/>
          </ac:spMkLst>
        </pc:spChg>
        <pc:spChg chg="mod topLvl">
          <ac:chgData name="Darius Kuddo" userId="da7555aa-d650-4d73-b00b-d01e713f1329" providerId="ADAL" clId="{9A4B509C-EEE7-485A-994E-5919214B754D}" dt="2025-02-20T01:52:04.057" v="2204" actId="165"/>
          <ac:spMkLst>
            <pc:docMk/>
            <pc:sldMk cId="2079882386" sldId="1730"/>
            <ac:spMk id="287" creationId="{CB7B9036-0115-3B22-34EF-749C2E2B8FEE}"/>
          </ac:spMkLst>
        </pc:spChg>
        <pc:spChg chg="mod ord topLvl">
          <ac:chgData name="Darius Kuddo" userId="da7555aa-d650-4d73-b00b-d01e713f1329" providerId="ADAL" clId="{9A4B509C-EEE7-485A-994E-5919214B754D}" dt="2025-02-20T01:53:12.869" v="2218" actId="167"/>
          <ac:spMkLst>
            <pc:docMk/>
            <pc:sldMk cId="2079882386" sldId="1730"/>
            <ac:spMk id="288" creationId="{8CFB0C02-758C-FD97-A8BF-87CB7D51D4F1}"/>
          </ac:spMkLst>
        </pc:spChg>
        <pc:spChg chg="mod topLvl">
          <ac:chgData name="Darius Kuddo" userId="da7555aa-d650-4d73-b00b-d01e713f1329" providerId="ADAL" clId="{9A4B509C-EEE7-485A-994E-5919214B754D}" dt="2025-02-20T18:40:24.320" v="4968" actId="108"/>
          <ac:spMkLst>
            <pc:docMk/>
            <pc:sldMk cId="2079882386" sldId="1730"/>
            <ac:spMk id="289" creationId="{F6BE3F59-925F-6C6D-FEF6-F3075B04FF14}"/>
          </ac:spMkLst>
        </pc:spChg>
        <pc:spChg chg="del mod topLvl">
          <ac:chgData name="Darius Kuddo" userId="da7555aa-d650-4d73-b00b-d01e713f1329" providerId="ADAL" clId="{9A4B509C-EEE7-485A-994E-5919214B754D}" dt="2025-02-20T01:54:09.850" v="2220" actId="478"/>
          <ac:spMkLst>
            <pc:docMk/>
            <pc:sldMk cId="2079882386" sldId="1730"/>
            <ac:spMk id="290" creationId="{BC39CE2F-FE3E-4D5D-96EA-BF06F0C6FDA2}"/>
          </ac:spMkLst>
        </pc:spChg>
        <pc:spChg chg="mod topLvl">
          <ac:chgData name="Darius Kuddo" userId="da7555aa-d650-4d73-b00b-d01e713f1329" providerId="ADAL" clId="{9A4B509C-EEE7-485A-994E-5919214B754D}" dt="2025-02-20T01:52:04.057" v="2204" actId="165"/>
          <ac:spMkLst>
            <pc:docMk/>
            <pc:sldMk cId="2079882386" sldId="1730"/>
            <ac:spMk id="291" creationId="{FCAD575B-876C-88F5-04AF-4D5D5ED1EA9F}"/>
          </ac:spMkLst>
        </pc:spChg>
        <pc:spChg chg="mod topLvl">
          <ac:chgData name="Darius Kuddo" userId="da7555aa-d650-4d73-b00b-d01e713f1329" providerId="ADAL" clId="{9A4B509C-EEE7-485A-994E-5919214B754D}" dt="2025-02-20T01:52:04.057" v="2204" actId="165"/>
          <ac:spMkLst>
            <pc:docMk/>
            <pc:sldMk cId="2079882386" sldId="1730"/>
            <ac:spMk id="292" creationId="{6BF811A1-8A64-4F8B-EEB7-653B4051943F}"/>
          </ac:spMkLst>
        </pc:spChg>
        <pc:spChg chg="mod topLvl">
          <ac:chgData name="Darius Kuddo" userId="da7555aa-d650-4d73-b00b-d01e713f1329" providerId="ADAL" clId="{9A4B509C-EEE7-485A-994E-5919214B754D}" dt="2025-02-20T01:52:04.057" v="2204" actId="165"/>
          <ac:spMkLst>
            <pc:docMk/>
            <pc:sldMk cId="2079882386" sldId="1730"/>
            <ac:spMk id="293" creationId="{44016C28-553F-6A1D-251B-1F7AA6E51286}"/>
          </ac:spMkLst>
        </pc:spChg>
        <pc:spChg chg="mod topLvl">
          <ac:chgData name="Darius Kuddo" userId="da7555aa-d650-4d73-b00b-d01e713f1329" providerId="ADAL" clId="{9A4B509C-EEE7-485A-994E-5919214B754D}" dt="2025-02-20T01:52:04.057" v="2204" actId="165"/>
          <ac:spMkLst>
            <pc:docMk/>
            <pc:sldMk cId="2079882386" sldId="1730"/>
            <ac:spMk id="294" creationId="{3EB3880B-8D22-6275-7008-C9F93A28FEA7}"/>
          </ac:spMkLst>
        </pc:spChg>
        <pc:spChg chg="mod topLvl">
          <ac:chgData name="Darius Kuddo" userId="da7555aa-d650-4d73-b00b-d01e713f1329" providerId="ADAL" clId="{9A4B509C-EEE7-485A-994E-5919214B754D}" dt="2025-02-20T01:52:04.057" v="2204" actId="165"/>
          <ac:spMkLst>
            <pc:docMk/>
            <pc:sldMk cId="2079882386" sldId="1730"/>
            <ac:spMk id="295" creationId="{E1179FBB-A59A-6E37-DF5D-A58522567F12}"/>
          </ac:spMkLst>
        </pc:spChg>
        <pc:spChg chg="mod topLvl">
          <ac:chgData name="Darius Kuddo" userId="da7555aa-d650-4d73-b00b-d01e713f1329" providerId="ADAL" clId="{9A4B509C-EEE7-485A-994E-5919214B754D}" dt="2025-02-20T01:52:04.057" v="2204" actId="165"/>
          <ac:spMkLst>
            <pc:docMk/>
            <pc:sldMk cId="2079882386" sldId="1730"/>
            <ac:spMk id="296" creationId="{141A9DB4-570A-54F2-D266-E0E84C52DF76}"/>
          </ac:spMkLst>
        </pc:spChg>
        <pc:spChg chg="mod topLvl">
          <ac:chgData name="Darius Kuddo" userId="da7555aa-d650-4d73-b00b-d01e713f1329" providerId="ADAL" clId="{9A4B509C-EEE7-485A-994E-5919214B754D}" dt="2025-02-20T01:52:04.057" v="2204" actId="165"/>
          <ac:spMkLst>
            <pc:docMk/>
            <pc:sldMk cId="2079882386" sldId="1730"/>
            <ac:spMk id="299" creationId="{029A6AFA-CD1A-2091-6405-A3A5F3FDF629}"/>
          </ac:spMkLst>
        </pc:spChg>
        <pc:spChg chg="mod topLvl">
          <ac:chgData name="Darius Kuddo" userId="da7555aa-d650-4d73-b00b-d01e713f1329" providerId="ADAL" clId="{9A4B509C-EEE7-485A-994E-5919214B754D}" dt="2025-02-20T01:52:04.057" v="2204" actId="165"/>
          <ac:spMkLst>
            <pc:docMk/>
            <pc:sldMk cId="2079882386" sldId="1730"/>
            <ac:spMk id="300" creationId="{E1C8B665-03EC-C6E1-C81B-4EC7AD66D5D3}"/>
          </ac:spMkLst>
        </pc:spChg>
        <pc:spChg chg="mod topLvl">
          <ac:chgData name="Darius Kuddo" userId="da7555aa-d650-4d73-b00b-d01e713f1329" providerId="ADAL" clId="{9A4B509C-EEE7-485A-994E-5919214B754D}" dt="2025-02-20T01:52:04.057" v="2204" actId="165"/>
          <ac:spMkLst>
            <pc:docMk/>
            <pc:sldMk cId="2079882386" sldId="1730"/>
            <ac:spMk id="301" creationId="{E2A6C267-187A-A0AC-06CE-9D80C5885D8F}"/>
          </ac:spMkLst>
        </pc:spChg>
        <pc:spChg chg="mod topLvl">
          <ac:chgData name="Darius Kuddo" userId="da7555aa-d650-4d73-b00b-d01e713f1329" providerId="ADAL" clId="{9A4B509C-EEE7-485A-994E-5919214B754D}" dt="2025-02-20T01:52:04.057" v="2204" actId="165"/>
          <ac:spMkLst>
            <pc:docMk/>
            <pc:sldMk cId="2079882386" sldId="1730"/>
            <ac:spMk id="303" creationId="{6E0B5761-12F8-F7EB-897F-65F080E422A8}"/>
          </ac:spMkLst>
        </pc:spChg>
        <pc:spChg chg="mod topLvl">
          <ac:chgData name="Darius Kuddo" userId="da7555aa-d650-4d73-b00b-d01e713f1329" providerId="ADAL" clId="{9A4B509C-EEE7-485A-994E-5919214B754D}" dt="2025-02-20T01:52:04.057" v="2204" actId="165"/>
          <ac:spMkLst>
            <pc:docMk/>
            <pc:sldMk cId="2079882386" sldId="1730"/>
            <ac:spMk id="304" creationId="{517648FF-3683-B2ED-AFE8-BCBB76768CC1}"/>
          </ac:spMkLst>
        </pc:spChg>
        <pc:spChg chg="mod topLvl">
          <ac:chgData name="Darius Kuddo" userId="da7555aa-d650-4d73-b00b-d01e713f1329" providerId="ADAL" clId="{9A4B509C-EEE7-485A-994E-5919214B754D}" dt="2025-02-20T01:52:04.057" v="2204" actId="165"/>
          <ac:spMkLst>
            <pc:docMk/>
            <pc:sldMk cId="2079882386" sldId="1730"/>
            <ac:spMk id="309" creationId="{5C9EDAD2-0011-871C-477A-C8AF713A0C48}"/>
          </ac:spMkLst>
        </pc:spChg>
        <pc:spChg chg="mod ord topLvl">
          <ac:chgData name="Darius Kuddo" userId="da7555aa-d650-4d73-b00b-d01e713f1329" providerId="ADAL" clId="{9A4B509C-EEE7-485A-994E-5919214B754D}" dt="2025-02-20T01:56:04.341" v="2228" actId="552"/>
          <ac:spMkLst>
            <pc:docMk/>
            <pc:sldMk cId="2079882386" sldId="1730"/>
            <ac:spMk id="312" creationId="{7301DFB7-A8EC-9386-19B7-364113A96FCF}"/>
          </ac:spMkLst>
        </pc:spChg>
        <pc:spChg chg="mod topLvl">
          <ac:chgData name="Darius Kuddo" userId="da7555aa-d650-4d73-b00b-d01e713f1329" providerId="ADAL" clId="{9A4B509C-EEE7-485A-994E-5919214B754D}" dt="2025-02-20T18:40:19.781" v="4966" actId="108"/>
          <ac:spMkLst>
            <pc:docMk/>
            <pc:sldMk cId="2079882386" sldId="1730"/>
            <ac:spMk id="313" creationId="{2E790346-28DF-3E0B-81C1-AE63C461BCB3}"/>
          </ac:spMkLst>
        </pc:spChg>
        <pc:spChg chg="del mod topLvl">
          <ac:chgData name="Darius Kuddo" userId="da7555aa-d650-4d73-b00b-d01e713f1329" providerId="ADAL" clId="{9A4B509C-EEE7-485A-994E-5919214B754D}" dt="2025-02-20T01:54:09.850" v="2220" actId="478"/>
          <ac:spMkLst>
            <pc:docMk/>
            <pc:sldMk cId="2079882386" sldId="1730"/>
            <ac:spMk id="314" creationId="{ECECA872-7B59-9861-C58B-B74056A491CC}"/>
          </ac:spMkLst>
        </pc:spChg>
        <pc:spChg chg="mod topLvl">
          <ac:chgData name="Darius Kuddo" userId="da7555aa-d650-4d73-b00b-d01e713f1329" providerId="ADAL" clId="{9A4B509C-EEE7-485A-994E-5919214B754D}" dt="2025-02-20T01:52:04.057" v="2204" actId="165"/>
          <ac:spMkLst>
            <pc:docMk/>
            <pc:sldMk cId="2079882386" sldId="1730"/>
            <ac:spMk id="316" creationId="{48600530-6D63-477B-2FC9-409015CED195}"/>
          </ac:spMkLst>
        </pc:spChg>
        <pc:spChg chg="mod topLvl">
          <ac:chgData name="Darius Kuddo" userId="da7555aa-d650-4d73-b00b-d01e713f1329" providerId="ADAL" clId="{9A4B509C-EEE7-485A-994E-5919214B754D}" dt="2025-02-20T01:52:04.057" v="2204" actId="165"/>
          <ac:spMkLst>
            <pc:docMk/>
            <pc:sldMk cId="2079882386" sldId="1730"/>
            <ac:spMk id="317" creationId="{36B568F0-A2C4-C744-6803-801387563218}"/>
          </ac:spMkLst>
        </pc:spChg>
        <pc:spChg chg="mod topLvl">
          <ac:chgData name="Darius Kuddo" userId="da7555aa-d650-4d73-b00b-d01e713f1329" providerId="ADAL" clId="{9A4B509C-EEE7-485A-994E-5919214B754D}" dt="2025-02-20T01:52:04.057" v="2204" actId="165"/>
          <ac:spMkLst>
            <pc:docMk/>
            <pc:sldMk cId="2079882386" sldId="1730"/>
            <ac:spMk id="318" creationId="{A44F79F0-CAD3-1911-8DB7-FE17585E891B}"/>
          </ac:spMkLst>
        </pc:spChg>
        <pc:spChg chg="mod topLvl">
          <ac:chgData name="Darius Kuddo" userId="da7555aa-d650-4d73-b00b-d01e713f1329" providerId="ADAL" clId="{9A4B509C-EEE7-485A-994E-5919214B754D}" dt="2025-02-20T01:52:04.057" v="2204" actId="165"/>
          <ac:spMkLst>
            <pc:docMk/>
            <pc:sldMk cId="2079882386" sldId="1730"/>
            <ac:spMk id="319" creationId="{64C32642-8BEB-A7E6-7CC2-E249A43B4D2E}"/>
          </ac:spMkLst>
        </pc:spChg>
        <pc:spChg chg="mod topLvl">
          <ac:chgData name="Darius Kuddo" userId="da7555aa-d650-4d73-b00b-d01e713f1329" providerId="ADAL" clId="{9A4B509C-EEE7-485A-994E-5919214B754D}" dt="2025-02-20T01:52:04.057" v="2204" actId="165"/>
          <ac:spMkLst>
            <pc:docMk/>
            <pc:sldMk cId="2079882386" sldId="1730"/>
            <ac:spMk id="320" creationId="{43189492-7790-3AC6-3B24-FBF0020307CA}"/>
          </ac:spMkLst>
        </pc:spChg>
        <pc:spChg chg="mod topLvl">
          <ac:chgData name="Darius Kuddo" userId="da7555aa-d650-4d73-b00b-d01e713f1329" providerId="ADAL" clId="{9A4B509C-EEE7-485A-994E-5919214B754D}" dt="2025-02-20T01:52:04.057" v="2204" actId="165"/>
          <ac:spMkLst>
            <pc:docMk/>
            <pc:sldMk cId="2079882386" sldId="1730"/>
            <ac:spMk id="321" creationId="{781E9FE4-538F-50AE-35E1-DD2A56726084}"/>
          </ac:spMkLst>
        </pc:spChg>
        <pc:spChg chg="mod ord topLvl">
          <ac:chgData name="Darius Kuddo" userId="da7555aa-d650-4d73-b00b-d01e713f1329" providerId="ADAL" clId="{9A4B509C-EEE7-485A-994E-5919214B754D}" dt="2025-02-20T01:53:12.869" v="2218" actId="167"/>
          <ac:spMkLst>
            <pc:docMk/>
            <pc:sldMk cId="2079882386" sldId="1730"/>
            <ac:spMk id="322" creationId="{34E3ABCE-E754-82CC-D372-8F62B5980812}"/>
          </ac:spMkLst>
        </pc:spChg>
        <pc:spChg chg="mod topLvl">
          <ac:chgData name="Darius Kuddo" userId="da7555aa-d650-4d73-b00b-d01e713f1329" providerId="ADAL" clId="{9A4B509C-EEE7-485A-994E-5919214B754D}" dt="2025-02-20T18:40:10.292" v="4962" actId="108"/>
          <ac:spMkLst>
            <pc:docMk/>
            <pc:sldMk cId="2079882386" sldId="1730"/>
            <ac:spMk id="323" creationId="{2DC733C6-EFE4-76CB-571F-C3A6331A7B8C}"/>
          </ac:spMkLst>
        </pc:spChg>
        <pc:spChg chg="del mod topLvl">
          <ac:chgData name="Darius Kuddo" userId="da7555aa-d650-4d73-b00b-d01e713f1329" providerId="ADAL" clId="{9A4B509C-EEE7-485A-994E-5919214B754D}" dt="2025-02-20T01:54:09.850" v="2220" actId="478"/>
          <ac:spMkLst>
            <pc:docMk/>
            <pc:sldMk cId="2079882386" sldId="1730"/>
            <ac:spMk id="324" creationId="{8CC10D7A-0479-6016-91A6-6FB100681F57}"/>
          </ac:spMkLst>
        </pc:spChg>
        <pc:spChg chg="mod topLvl">
          <ac:chgData name="Darius Kuddo" userId="da7555aa-d650-4d73-b00b-d01e713f1329" providerId="ADAL" clId="{9A4B509C-EEE7-485A-994E-5919214B754D}" dt="2025-02-20T01:52:04.057" v="2204" actId="165"/>
          <ac:spMkLst>
            <pc:docMk/>
            <pc:sldMk cId="2079882386" sldId="1730"/>
            <ac:spMk id="325" creationId="{35E6976C-481B-7BBA-5582-6289AAC95DEE}"/>
          </ac:spMkLst>
        </pc:spChg>
        <pc:spChg chg="mod topLvl">
          <ac:chgData name="Darius Kuddo" userId="da7555aa-d650-4d73-b00b-d01e713f1329" providerId="ADAL" clId="{9A4B509C-EEE7-485A-994E-5919214B754D}" dt="2025-02-20T01:52:04.057" v="2204" actId="165"/>
          <ac:spMkLst>
            <pc:docMk/>
            <pc:sldMk cId="2079882386" sldId="1730"/>
            <ac:spMk id="326" creationId="{0BA9601A-9432-3034-A2D9-A8A4091EAB5B}"/>
          </ac:spMkLst>
        </pc:spChg>
        <pc:spChg chg="mod topLvl">
          <ac:chgData name="Darius Kuddo" userId="da7555aa-d650-4d73-b00b-d01e713f1329" providerId="ADAL" clId="{9A4B509C-EEE7-485A-994E-5919214B754D}" dt="2025-02-20T01:52:04.057" v="2204" actId="165"/>
          <ac:spMkLst>
            <pc:docMk/>
            <pc:sldMk cId="2079882386" sldId="1730"/>
            <ac:spMk id="327" creationId="{EC08327D-0DB5-8FB2-6909-DE70625A37D2}"/>
          </ac:spMkLst>
        </pc:spChg>
        <pc:spChg chg="mod topLvl">
          <ac:chgData name="Darius Kuddo" userId="da7555aa-d650-4d73-b00b-d01e713f1329" providerId="ADAL" clId="{9A4B509C-EEE7-485A-994E-5919214B754D}" dt="2025-02-20T01:52:04.057" v="2204" actId="165"/>
          <ac:spMkLst>
            <pc:docMk/>
            <pc:sldMk cId="2079882386" sldId="1730"/>
            <ac:spMk id="328" creationId="{FFBE99DD-3E3F-A371-BEB3-C7FDA1EF92DB}"/>
          </ac:spMkLst>
        </pc:spChg>
        <pc:spChg chg="mod topLvl">
          <ac:chgData name="Darius Kuddo" userId="da7555aa-d650-4d73-b00b-d01e713f1329" providerId="ADAL" clId="{9A4B509C-EEE7-485A-994E-5919214B754D}" dt="2025-02-20T01:52:04.057" v="2204" actId="165"/>
          <ac:spMkLst>
            <pc:docMk/>
            <pc:sldMk cId="2079882386" sldId="1730"/>
            <ac:spMk id="329" creationId="{739C51B7-3D13-AD5D-F1F5-944C254612DB}"/>
          </ac:spMkLst>
        </pc:spChg>
        <pc:spChg chg="mod topLvl">
          <ac:chgData name="Darius Kuddo" userId="da7555aa-d650-4d73-b00b-d01e713f1329" providerId="ADAL" clId="{9A4B509C-EEE7-485A-994E-5919214B754D}" dt="2025-02-20T01:52:04.057" v="2204" actId="165"/>
          <ac:spMkLst>
            <pc:docMk/>
            <pc:sldMk cId="2079882386" sldId="1730"/>
            <ac:spMk id="330" creationId="{694F2A37-59CD-880C-C677-7DA5292E1846}"/>
          </ac:spMkLst>
        </pc:spChg>
        <pc:spChg chg="mod topLvl">
          <ac:chgData name="Darius Kuddo" userId="da7555aa-d650-4d73-b00b-d01e713f1329" providerId="ADAL" clId="{9A4B509C-EEE7-485A-994E-5919214B754D}" dt="2025-02-20T01:52:04.057" v="2204" actId="165"/>
          <ac:spMkLst>
            <pc:docMk/>
            <pc:sldMk cId="2079882386" sldId="1730"/>
            <ac:spMk id="331" creationId="{AFA1CFC9-B7F1-C2E8-0721-38D2114F68EC}"/>
          </ac:spMkLst>
        </pc:spChg>
        <pc:spChg chg="mod topLvl">
          <ac:chgData name="Darius Kuddo" userId="da7555aa-d650-4d73-b00b-d01e713f1329" providerId="ADAL" clId="{9A4B509C-EEE7-485A-994E-5919214B754D}" dt="2025-02-20T01:52:04.057" v="2204" actId="165"/>
          <ac:spMkLst>
            <pc:docMk/>
            <pc:sldMk cId="2079882386" sldId="1730"/>
            <ac:spMk id="332" creationId="{08211EED-1A49-0D62-3C0B-C48AFE583C9C}"/>
          </ac:spMkLst>
        </pc:spChg>
        <pc:spChg chg="mod topLvl">
          <ac:chgData name="Darius Kuddo" userId="da7555aa-d650-4d73-b00b-d01e713f1329" providerId="ADAL" clId="{9A4B509C-EEE7-485A-994E-5919214B754D}" dt="2025-02-20T01:52:04.057" v="2204" actId="165"/>
          <ac:spMkLst>
            <pc:docMk/>
            <pc:sldMk cId="2079882386" sldId="1730"/>
            <ac:spMk id="333" creationId="{FE855C4C-E31A-28D9-A1D5-64B9A73A3709}"/>
          </ac:spMkLst>
        </pc:spChg>
        <pc:spChg chg="mod topLvl">
          <ac:chgData name="Darius Kuddo" userId="da7555aa-d650-4d73-b00b-d01e713f1329" providerId="ADAL" clId="{9A4B509C-EEE7-485A-994E-5919214B754D}" dt="2025-02-20T01:52:04.057" v="2204" actId="165"/>
          <ac:spMkLst>
            <pc:docMk/>
            <pc:sldMk cId="2079882386" sldId="1730"/>
            <ac:spMk id="334" creationId="{B95B39CF-49FA-A3B1-9644-4BAD22240760}"/>
          </ac:spMkLst>
        </pc:spChg>
        <pc:spChg chg="mod topLvl">
          <ac:chgData name="Darius Kuddo" userId="da7555aa-d650-4d73-b00b-d01e713f1329" providerId="ADAL" clId="{9A4B509C-EEE7-485A-994E-5919214B754D}" dt="2025-02-20T01:52:04.057" v="2204" actId="165"/>
          <ac:spMkLst>
            <pc:docMk/>
            <pc:sldMk cId="2079882386" sldId="1730"/>
            <ac:spMk id="341" creationId="{F050F91E-CC35-E049-EB94-59278F5875F7}"/>
          </ac:spMkLst>
        </pc:spChg>
        <pc:spChg chg="mod topLvl">
          <ac:chgData name="Darius Kuddo" userId="da7555aa-d650-4d73-b00b-d01e713f1329" providerId="ADAL" clId="{9A4B509C-EEE7-485A-994E-5919214B754D}" dt="2025-02-20T01:52:04.057" v="2204" actId="165"/>
          <ac:spMkLst>
            <pc:docMk/>
            <pc:sldMk cId="2079882386" sldId="1730"/>
            <ac:spMk id="342" creationId="{FAC8B5F4-57F9-722A-138D-4C740971567D}"/>
          </ac:spMkLst>
        </pc:spChg>
        <pc:spChg chg="mod topLvl">
          <ac:chgData name="Darius Kuddo" userId="da7555aa-d650-4d73-b00b-d01e713f1329" providerId="ADAL" clId="{9A4B509C-EEE7-485A-994E-5919214B754D}" dt="2025-02-20T01:52:04.057" v="2204" actId="165"/>
          <ac:spMkLst>
            <pc:docMk/>
            <pc:sldMk cId="2079882386" sldId="1730"/>
            <ac:spMk id="343" creationId="{492FA0E7-BE7E-4AC3-E8AB-8FDC503301A5}"/>
          </ac:spMkLst>
        </pc:spChg>
        <pc:spChg chg="mod topLvl">
          <ac:chgData name="Darius Kuddo" userId="da7555aa-d650-4d73-b00b-d01e713f1329" providerId="ADAL" clId="{9A4B509C-EEE7-485A-994E-5919214B754D}" dt="2025-02-20T01:52:04.057" v="2204" actId="165"/>
          <ac:spMkLst>
            <pc:docMk/>
            <pc:sldMk cId="2079882386" sldId="1730"/>
            <ac:spMk id="344" creationId="{0C3E0DA2-EC0A-2E47-F6C3-BD8C9E28A646}"/>
          </ac:spMkLst>
        </pc:spChg>
        <pc:spChg chg="mod topLvl">
          <ac:chgData name="Darius Kuddo" userId="da7555aa-d650-4d73-b00b-d01e713f1329" providerId="ADAL" clId="{9A4B509C-EEE7-485A-994E-5919214B754D}" dt="2025-02-20T01:52:04.057" v="2204" actId="165"/>
          <ac:spMkLst>
            <pc:docMk/>
            <pc:sldMk cId="2079882386" sldId="1730"/>
            <ac:spMk id="345" creationId="{F285BC5D-8C4C-DB39-1D28-151989975FED}"/>
          </ac:spMkLst>
        </pc:spChg>
        <pc:spChg chg="mod topLvl">
          <ac:chgData name="Darius Kuddo" userId="da7555aa-d650-4d73-b00b-d01e713f1329" providerId="ADAL" clId="{9A4B509C-EEE7-485A-994E-5919214B754D}" dt="2025-02-20T01:52:04.057" v="2204" actId="165"/>
          <ac:spMkLst>
            <pc:docMk/>
            <pc:sldMk cId="2079882386" sldId="1730"/>
            <ac:spMk id="346" creationId="{DC1B9774-F3EE-25A3-0B40-DABBFB650B08}"/>
          </ac:spMkLst>
        </pc:spChg>
        <pc:spChg chg="mod ord topLvl">
          <ac:chgData name="Darius Kuddo" userId="da7555aa-d650-4d73-b00b-d01e713f1329" providerId="ADAL" clId="{9A4B509C-EEE7-485A-994E-5919214B754D}" dt="2025-02-20T01:53:12.869" v="2218" actId="167"/>
          <ac:spMkLst>
            <pc:docMk/>
            <pc:sldMk cId="2079882386" sldId="1730"/>
            <ac:spMk id="347" creationId="{2C5E12AF-53AA-661B-0F9D-686498216F90}"/>
          </ac:spMkLst>
        </pc:spChg>
        <pc:spChg chg="mod topLvl">
          <ac:chgData name="Darius Kuddo" userId="da7555aa-d650-4d73-b00b-d01e713f1329" providerId="ADAL" clId="{9A4B509C-EEE7-485A-994E-5919214B754D}" dt="2025-02-20T18:40:12.583" v="4963" actId="108"/>
          <ac:spMkLst>
            <pc:docMk/>
            <pc:sldMk cId="2079882386" sldId="1730"/>
            <ac:spMk id="348" creationId="{0DAFA180-6373-A8D7-0C90-C28F03AE8689}"/>
          </ac:spMkLst>
        </pc:spChg>
        <pc:spChg chg="del mod topLvl">
          <ac:chgData name="Darius Kuddo" userId="da7555aa-d650-4d73-b00b-d01e713f1329" providerId="ADAL" clId="{9A4B509C-EEE7-485A-994E-5919214B754D}" dt="2025-02-20T01:54:09.850" v="2220" actId="478"/>
          <ac:spMkLst>
            <pc:docMk/>
            <pc:sldMk cId="2079882386" sldId="1730"/>
            <ac:spMk id="349" creationId="{6D009F0E-8EE2-1D5E-FB59-AE7755AE471D}"/>
          </ac:spMkLst>
        </pc:spChg>
        <pc:spChg chg="mod topLvl">
          <ac:chgData name="Darius Kuddo" userId="da7555aa-d650-4d73-b00b-d01e713f1329" providerId="ADAL" clId="{9A4B509C-EEE7-485A-994E-5919214B754D}" dt="2025-02-20T01:52:04.057" v="2204" actId="165"/>
          <ac:spMkLst>
            <pc:docMk/>
            <pc:sldMk cId="2079882386" sldId="1730"/>
            <ac:spMk id="350" creationId="{197E4ABF-579C-8233-7F4C-AE161AFB7444}"/>
          </ac:spMkLst>
        </pc:spChg>
        <pc:spChg chg="mod topLvl">
          <ac:chgData name="Darius Kuddo" userId="da7555aa-d650-4d73-b00b-d01e713f1329" providerId="ADAL" clId="{9A4B509C-EEE7-485A-994E-5919214B754D}" dt="2025-02-20T01:52:04.057" v="2204" actId="165"/>
          <ac:spMkLst>
            <pc:docMk/>
            <pc:sldMk cId="2079882386" sldId="1730"/>
            <ac:spMk id="351" creationId="{00129159-0D5C-727A-BC3C-DF70E4C7E315}"/>
          </ac:spMkLst>
        </pc:spChg>
        <pc:spChg chg="mod topLvl">
          <ac:chgData name="Darius Kuddo" userId="da7555aa-d650-4d73-b00b-d01e713f1329" providerId="ADAL" clId="{9A4B509C-EEE7-485A-994E-5919214B754D}" dt="2025-02-20T01:52:04.057" v="2204" actId="165"/>
          <ac:spMkLst>
            <pc:docMk/>
            <pc:sldMk cId="2079882386" sldId="1730"/>
            <ac:spMk id="352" creationId="{3DA82DD5-6657-4B7E-19B8-B73A7A8FDEBB}"/>
          </ac:spMkLst>
        </pc:spChg>
        <pc:spChg chg="mod topLvl">
          <ac:chgData name="Darius Kuddo" userId="da7555aa-d650-4d73-b00b-d01e713f1329" providerId="ADAL" clId="{9A4B509C-EEE7-485A-994E-5919214B754D}" dt="2025-02-20T01:52:04.057" v="2204" actId="165"/>
          <ac:spMkLst>
            <pc:docMk/>
            <pc:sldMk cId="2079882386" sldId="1730"/>
            <ac:spMk id="353" creationId="{30698DEF-778C-6A3F-2482-183233F79D67}"/>
          </ac:spMkLst>
        </pc:spChg>
        <pc:spChg chg="mod topLvl">
          <ac:chgData name="Darius Kuddo" userId="da7555aa-d650-4d73-b00b-d01e713f1329" providerId="ADAL" clId="{9A4B509C-EEE7-485A-994E-5919214B754D}" dt="2025-02-20T01:52:04.057" v="2204" actId="165"/>
          <ac:spMkLst>
            <pc:docMk/>
            <pc:sldMk cId="2079882386" sldId="1730"/>
            <ac:spMk id="354" creationId="{1E93BE48-CC20-4B2E-FEDE-583B6465743B}"/>
          </ac:spMkLst>
        </pc:spChg>
        <pc:spChg chg="mod topLvl">
          <ac:chgData name="Darius Kuddo" userId="da7555aa-d650-4d73-b00b-d01e713f1329" providerId="ADAL" clId="{9A4B509C-EEE7-485A-994E-5919214B754D}" dt="2025-02-20T01:52:04.057" v="2204" actId="165"/>
          <ac:spMkLst>
            <pc:docMk/>
            <pc:sldMk cId="2079882386" sldId="1730"/>
            <ac:spMk id="355" creationId="{503BE70F-7125-EF20-EA87-7DBF039F31A2}"/>
          </ac:spMkLst>
        </pc:spChg>
        <pc:spChg chg="mod topLvl">
          <ac:chgData name="Darius Kuddo" userId="da7555aa-d650-4d73-b00b-d01e713f1329" providerId="ADAL" clId="{9A4B509C-EEE7-485A-994E-5919214B754D}" dt="2025-02-20T01:52:04.057" v="2204" actId="165"/>
          <ac:spMkLst>
            <pc:docMk/>
            <pc:sldMk cId="2079882386" sldId="1730"/>
            <ac:spMk id="356" creationId="{FFA68D7C-905E-4637-4B28-ED233BBEC5C5}"/>
          </ac:spMkLst>
        </pc:spChg>
        <pc:spChg chg="mod topLvl">
          <ac:chgData name="Darius Kuddo" userId="da7555aa-d650-4d73-b00b-d01e713f1329" providerId="ADAL" clId="{9A4B509C-EEE7-485A-994E-5919214B754D}" dt="2025-02-20T01:52:04.057" v="2204" actId="165"/>
          <ac:spMkLst>
            <pc:docMk/>
            <pc:sldMk cId="2079882386" sldId="1730"/>
            <ac:spMk id="357" creationId="{935D1BB2-56B4-CA60-7C6E-6235C4729324}"/>
          </ac:spMkLst>
        </pc:spChg>
        <pc:spChg chg="mod topLvl">
          <ac:chgData name="Darius Kuddo" userId="da7555aa-d650-4d73-b00b-d01e713f1329" providerId="ADAL" clId="{9A4B509C-EEE7-485A-994E-5919214B754D}" dt="2025-02-20T01:52:04.057" v="2204" actId="165"/>
          <ac:spMkLst>
            <pc:docMk/>
            <pc:sldMk cId="2079882386" sldId="1730"/>
            <ac:spMk id="358" creationId="{D039C57C-9603-4B3B-5B82-CB148C35B419}"/>
          </ac:spMkLst>
        </pc:spChg>
        <pc:spChg chg="mod topLvl">
          <ac:chgData name="Darius Kuddo" userId="da7555aa-d650-4d73-b00b-d01e713f1329" providerId="ADAL" clId="{9A4B509C-EEE7-485A-994E-5919214B754D}" dt="2025-02-20T01:52:04.057" v="2204" actId="165"/>
          <ac:spMkLst>
            <pc:docMk/>
            <pc:sldMk cId="2079882386" sldId="1730"/>
            <ac:spMk id="359" creationId="{B9359879-AB29-81D9-6C38-8226AB60AC42}"/>
          </ac:spMkLst>
        </pc:spChg>
        <pc:spChg chg="mod topLvl">
          <ac:chgData name="Darius Kuddo" userId="da7555aa-d650-4d73-b00b-d01e713f1329" providerId="ADAL" clId="{9A4B509C-EEE7-485A-994E-5919214B754D}" dt="2025-02-20T01:52:04.057" v="2204" actId="165"/>
          <ac:spMkLst>
            <pc:docMk/>
            <pc:sldMk cId="2079882386" sldId="1730"/>
            <ac:spMk id="360" creationId="{F72E5AFF-32D6-1D41-A9B2-268E862C1A63}"/>
          </ac:spMkLst>
        </pc:spChg>
        <pc:spChg chg="mod topLvl">
          <ac:chgData name="Darius Kuddo" userId="da7555aa-d650-4d73-b00b-d01e713f1329" providerId="ADAL" clId="{9A4B509C-EEE7-485A-994E-5919214B754D}" dt="2025-02-20T01:52:04.057" v="2204" actId="165"/>
          <ac:spMkLst>
            <pc:docMk/>
            <pc:sldMk cId="2079882386" sldId="1730"/>
            <ac:spMk id="361" creationId="{5568C6BE-5463-2775-B4A8-37DB6714B8E7}"/>
          </ac:spMkLst>
        </pc:spChg>
        <pc:spChg chg="mod topLvl">
          <ac:chgData name="Darius Kuddo" userId="da7555aa-d650-4d73-b00b-d01e713f1329" providerId="ADAL" clId="{9A4B509C-EEE7-485A-994E-5919214B754D}" dt="2025-02-20T01:52:07.698" v="2205" actId="165"/>
          <ac:spMkLst>
            <pc:docMk/>
            <pc:sldMk cId="2079882386" sldId="1730"/>
            <ac:spMk id="2048" creationId="{D5DA412E-0710-1849-E85E-8F9DD95A43A3}"/>
          </ac:spMkLst>
        </pc:spChg>
        <pc:spChg chg="mod ord topLvl">
          <ac:chgData name="Darius Kuddo" userId="da7555aa-d650-4d73-b00b-d01e713f1329" providerId="ADAL" clId="{9A4B509C-EEE7-485A-994E-5919214B754D}" dt="2025-02-20T01:53:12.869" v="2218" actId="167"/>
          <ac:spMkLst>
            <pc:docMk/>
            <pc:sldMk cId="2079882386" sldId="1730"/>
            <ac:spMk id="2049" creationId="{C55A64FB-6A2B-AB79-C624-95EF2E98D79E}"/>
          </ac:spMkLst>
        </pc:spChg>
        <pc:spChg chg="mod topLvl">
          <ac:chgData name="Darius Kuddo" userId="da7555aa-d650-4d73-b00b-d01e713f1329" providerId="ADAL" clId="{9A4B509C-EEE7-485A-994E-5919214B754D}" dt="2025-02-20T18:40:08.247" v="4961" actId="108"/>
          <ac:spMkLst>
            <pc:docMk/>
            <pc:sldMk cId="2079882386" sldId="1730"/>
            <ac:spMk id="2050" creationId="{4FE3D45D-FBB3-85AD-D773-FB5A225309C1}"/>
          </ac:spMkLst>
        </pc:spChg>
        <pc:spChg chg="del mod topLvl">
          <ac:chgData name="Darius Kuddo" userId="da7555aa-d650-4d73-b00b-d01e713f1329" providerId="ADAL" clId="{9A4B509C-EEE7-485A-994E-5919214B754D}" dt="2025-02-20T01:54:09.850" v="2220" actId="478"/>
          <ac:spMkLst>
            <pc:docMk/>
            <pc:sldMk cId="2079882386" sldId="1730"/>
            <ac:spMk id="2051" creationId="{A0E85026-F3BC-565C-7C53-FE2A17E426B9}"/>
          </ac:spMkLst>
        </pc:spChg>
        <pc:spChg chg="mod topLvl">
          <ac:chgData name="Darius Kuddo" userId="da7555aa-d650-4d73-b00b-d01e713f1329" providerId="ADAL" clId="{9A4B509C-EEE7-485A-994E-5919214B754D}" dt="2025-02-20T01:52:07.698" v="2205" actId="165"/>
          <ac:spMkLst>
            <pc:docMk/>
            <pc:sldMk cId="2079882386" sldId="1730"/>
            <ac:spMk id="2055" creationId="{2740759D-C331-288E-DCC2-F7205807C73C}"/>
          </ac:spMkLst>
        </pc:spChg>
        <pc:spChg chg="mod ord topLvl">
          <ac:chgData name="Darius Kuddo" userId="da7555aa-d650-4d73-b00b-d01e713f1329" providerId="ADAL" clId="{9A4B509C-EEE7-485A-994E-5919214B754D}" dt="2025-02-20T01:56:04.341" v="2228" actId="552"/>
          <ac:spMkLst>
            <pc:docMk/>
            <pc:sldMk cId="2079882386" sldId="1730"/>
            <ac:spMk id="2056" creationId="{67065017-02C6-E5BB-A6BB-F2B662749176}"/>
          </ac:spMkLst>
        </pc:spChg>
        <pc:spChg chg="mod topLvl">
          <ac:chgData name="Darius Kuddo" userId="da7555aa-d650-4d73-b00b-d01e713f1329" providerId="ADAL" clId="{9A4B509C-EEE7-485A-994E-5919214B754D}" dt="2025-02-20T01:52:07.698" v="2205" actId="165"/>
          <ac:spMkLst>
            <pc:docMk/>
            <pc:sldMk cId="2079882386" sldId="1730"/>
            <ac:spMk id="2057" creationId="{0767060E-D5F6-2B0F-0A6F-5254E224B71A}"/>
          </ac:spMkLst>
        </pc:spChg>
        <pc:spChg chg="del mod topLvl">
          <ac:chgData name="Darius Kuddo" userId="da7555aa-d650-4d73-b00b-d01e713f1329" providerId="ADAL" clId="{9A4B509C-EEE7-485A-994E-5919214B754D}" dt="2025-02-20T01:54:09.850" v="2220" actId="478"/>
          <ac:spMkLst>
            <pc:docMk/>
            <pc:sldMk cId="2079882386" sldId="1730"/>
            <ac:spMk id="2058" creationId="{A08A6FF8-FF27-59D4-2FEF-C18BBC356237}"/>
          </ac:spMkLst>
        </pc:spChg>
        <pc:spChg chg="mod topLvl">
          <ac:chgData name="Darius Kuddo" userId="da7555aa-d650-4d73-b00b-d01e713f1329" providerId="ADAL" clId="{9A4B509C-EEE7-485A-994E-5919214B754D}" dt="2025-02-20T01:52:04.057" v="2204" actId="165"/>
          <ac:spMkLst>
            <pc:docMk/>
            <pc:sldMk cId="2079882386" sldId="1730"/>
            <ac:spMk id="2062" creationId="{0196519E-91D7-9ECB-50BD-6CBB4CA4F1B1}"/>
          </ac:spMkLst>
        </pc:spChg>
        <pc:spChg chg="mod topLvl">
          <ac:chgData name="Darius Kuddo" userId="da7555aa-d650-4d73-b00b-d01e713f1329" providerId="ADAL" clId="{9A4B509C-EEE7-485A-994E-5919214B754D}" dt="2025-02-20T01:52:04.057" v="2204" actId="165"/>
          <ac:spMkLst>
            <pc:docMk/>
            <pc:sldMk cId="2079882386" sldId="1730"/>
            <ac:spMk id="2063" creationId="{9F8530FB-630C-8C63-3D8F-47C87B53F4C5}"/>
          </ac:spMkLst>
        </pc:spChg>
        <pc:spChg chg="mod topLvl">
          <ac:chgData name="Darius Kuddo" userId="da7555aa-d650-4d73-b00b-d01e713f1329" providerId="ADAL" clId="{9A4B509C-EEE7-485A-994E-5919214B754D}" dt="2025-02-20T01:52:04.057" v="2204" actId="165"/>
          <ac:spMkLst>
            <pc:docMk/>
            <pc:sldMk cId="2079882386" sldId="1730"/>
            <ac:spMk id="2064" creationId="{0D1C49C7-2FCD-7366-1F3D-B20BE88EC1BB}"/>
          </ac:spMkLst>
        </pc:spChg>
        <pc:spChg chg="mod topLvl">
          <ac:chgData name="Darius Kuddo" userId="da7555aa-d650-4d73-b00b-d01e713f1329" providerId="ADAL" clId="{9A4B509C-EEE7-485A-994E-5919214B754D}" dt="2025-02-20T01:52:04.057" v="2204" actId="165"/>
          <ac:spMkLst>
            <pc:docMk/>
            <pc:sldMk cId="2079882386" sldId="1730"/>
            <ac:spMk id="2065" creationId="{7804B00F-CC95-F26D-C14E-141F8D0970D2}"/>
          </ac:spMkLst>
        </pc:spChg>
        <pc:spChg chg="mod topLvl">
          <ac:chgData name="Darius Kuddo" userId="da7555aa-d650-4d73-b00b-d01e713f1329" providerId="ADAL" clId="{9A4B509C-EEE7-485A-994E-5919214B754D}" dt="2025-02-20T01:52:04.057" v="2204" actId="165"/>
          <ac:spMkLst>
            <pc:docMk/>
            <pc:sldMk cId="2079882386" sldId="1730"/>
            <ac:spMk id="2066" creationId="{6DC93753-8E73-790D-C37B-2433F87BBD70}"/>
          </ac:spMkLst>
        </pc:spChg>
        <pc:spChg chg="mod topLvl">
          <ac:chgData name="Darius Kuddo" userId="da7555aa-d650-4d73-b00b-d01e713f1329" providerId="ADAL" clId="{9A4B509C-EEE7-485A-994E-5919214B754D}" dt="2025-02-20T01:52:04.057" v="2204" actId="165"/>
          <ac:spMkLst>
            <pc:docMk/>
            <pc:sldMk cId="2079882386" sldId="1730"/>
            <ac:spMk id="2067" creationId="{19798C21-E55D-5C77-E2E9-C4F9EEF4369D}"/>
          </ac:spMkLst>
        </pc:spChg>
        <pc:spChg chg="mod ord topLvl">
          <ac:chgData name="Darius Kuddo" userId="da7555aa-d650-4d73-b00b-d01e713f1329" providerId="ADAL" clId="{9A4B509C-EEE7-485A-994E-5919214B754D}" dt="2025-02-20T01:53:12.869" v="2218" actId="167"/>
          <ac:spMkLst>
            <pc:docMk/>
            <pc:sldMk cId="2079882386" sldId="1730"/>
            <ac:spMk id="2068" creationId="{0EC8C123-05E2-0D6F-5DEE-2622128773AB}"/>
          </ac:spMkLst>
        </pc:spChg>
        <pc:spChg chg="mod topLvl">
          <ac:chgData name="Darius Kuddo" userId="da7555aa-d650-4d73-b00b-d01e713f1329" providerId="ADAL" clId="{9A4B509C-EEE7-485A-994E-5919214B754D}" dt="2025-02-20T18:40:26.738" v="4969" actId="108"/>
          <ac:spMkLst>
            <pc:docMk/>
            <pc:sldMk cId="2079882386" sldId="1730"/>
            <ac:spMk id="2069" creationId="{E41BD59C-ED82-2A2C-D44F-DEDC86ABD82C}"/>
          </ac:spMkLst>
        </pc:spChg>
        <pc:spChg chg="del mod topLvl">
          <ac:chgData name="Darius Kuddo" userId="da7555aa-d650-4d73-b00b-d01e713f1329" providerId="ADAL" clId="{9A4B509C-EEE7-485A-994E-5919214B754D}" dt="2025-02-20T01:54:09.850" v="2220" actId="478"/>
          <ac:spMkLst>
            <pc:docMk/>
            <pc:sldMk cId="2079882386" sldId="1730"/>
            <ac:spMk id="2070" creationId="{BF02572A-3720-E48C-15FE-40D182A71445}"/>
          </ac:spMkLst>
        </pc:spChg>
        <pc:spChg chg="mod topLvl">
          <ac:chgData name="Darius Kuddo" userId="da7555aa-d650-4d73-b00b-d01e713f1329" providerId="ADAL" clId="{9A4B509C-EEE7-485A-994E-5919214B754D}" dt="2025-02-20T01:52:04.057" v="2204" actId="165"/>
          <ac:spMkLst>
            <pc:docMk/>
            <pc:sldMk cId="2079882386" sldId="1730"/>
            <ac:spMk id="2074" creationId="{F0E96A3E-D9F1-E277-B919-9815419453D0}"/>
          </ac:spMkLst>
        </pc:spChg>
        <pc:spChg chg="mod topLvl">
          <ac:chgData name="Darius Kuddo" userId="da7555aa-d650-4d73-b00b-d01e713f1329" providerId="ADAL" clId="{9A4B509C-EEE7-485A-994E-5919214B754D}" dt="2025-02-20T01:52:04.057" v="2204" actId="165"/>
          <ac:spMkLst>
            <pc:docMk/>
            <pc:sldMk cId="2079882386" sldId="1730"/>
            <ac:spMk id="2075" creationId="{0D805D54-1BD4-0213-ADEC-84C829302062}"/>
          </ac:spMkLst>
        </pc:spChg>
        <pc:spChg chg="mod topLvl">
          <ac:chgData name="Darius Kuddo" userId="da7555aa-d650-4d73-b00b-d01e713f1329" providerId="ADAL" clId="{9A4B509C-EEE7-485A-994E-5919214B754D}" dt="2025-02-20T01:52:04.057" v="2204" actId="165"/>
          <ac:spMkLst>
            <pc:docMk/>
            <pc:sldMk cId="2079882386" sldId="1730"/>
            <ac:spMk id="2077" creationId="{5F3F2BA2-6D82-FFED-9862-0717DF96F83D}"/>
          </ac:spMkLst>
        </pc:spChg>
        <pc:spChg chg="mod topLvl">
          <ac:chgData name="Darius Kuddo" userId="da7555aa-d650-4d73-b00b-d01e713f1329" providerId="ADAL" clId="{9A4B509C-EEE7-485A-994E-5919214B754D}" dt="2025-02-20T01:52:04.057" v="2204" actId="165"/>
          <ac:spMkLst>
            <pc:docMk/>
            <pc:sldMk cId="2079882386" sldId="1730"/>
            <ac:spMk id="2078" creationId="{BAEB9A42-D0C5-221E-4DD4-BDA1B3E594EB}"/>
          </ac:spMkLst>
        </pc:spChg>
        <pc:spChg chg="mod topLvl">
          <ac:chgData name="Darius Kuddo" userId="da7555aa-d650-4d73-b00b-d01e713f1329" providerId="ADAL" clId="{9A4B509C-EEE7-485A-994E-5919214B754D}" dt="2025-02-20T01:52:04.057" v="2204" actId="165"/>
          <ac:spMkLst>
            <pc:docMk/>
            <pc:sldMk cId="2079882386" sldId="1730"/>
            <ac:spMk id="2079" creationId="{BD615E59-5E87-A84C-1935-9AEDDCA2DA36}"/>
          </ac:spMkLst>
        </pc:spChg>
        <pc:spChg chg="mod topLvl">
          <ac:chgData name="Darius Kuddo" userId="da7555aa-d650-4d73-b00b-d01e713f1329" providerId="ADAL" clId="{9A4B509C-EEE7-485A-994E-5919214B754D}" dt="2025-02-20T01:52:04.057" v="2204" actId="165"/>
          <ac:spMkLst>
            <pc:docMk/>
            <pc:sldMk cId="2079882386" sldId="1730"/>
            <ac:spMk id="2080" creationId="{CDBC36E9-05BA-9F99-C92D-162861FAD454}"/>
          </ac:spMkLst>
        </pc:spChg>
        <pc:spChg chg="mod topLvl">
          <ac:chgData name="Darius Kuddo" userId="da7555aa-d650-4d73-b00b-d01e713f1329" providerId="ADAL" clId="{9A4B509C-EEE7-485A-994E-5919214B754D}" dt="2025-02-20T01:52:04.057" v="2204" actId="165"/>
          <ac:spMkLst>
            <pc:docMk/>
            <pc:sldMk cId="2079882386" sldId="1730"/>
            <ac:spMk id="2081" creationId="{EBCF8497-5CD0-29C5-D40B-9F22144BA5BF}"/>
          </ac:spMkLst>
        </pc:spChg>
        <pc:spChg chg="mod topLvl">
          <ac:chgData name="Darius Kuddo" userId="da7555aa-d650-4d73-b00b-d01e713f1329" providerId="ADAL" clId="{9A4B509C-EEE7-485A-994E-5919214B754D}" dt="2025-02-20T01:52:04.057" v="2204" actId="165"/>
          <ac:spMkLst>
            <pc:docMk/>
            <pc:sldMk cId="2079882386" sldId="1730"/>
            <ac:spMk id="2083" creationId="{C409160F-6B78-8591-F095-2D3AC26A35AD}"/>
          </ac:spMkLst>
        </pc:spChg>
        <pc:spChg chg="mod topLvl">
          <ac:chgData name="Darius Kuddo" userId="da7555aa-d650-4d73-b00b-d01e713f1329" providerId="ADAL" clId="{9A4B509C-EEE7-485A-994E-5919214B754D}" dt="2025-02-20T01:52:04.057" v="2204" actId="165"/>
          <ac:spMkLst>
            <pc:docMk/>
            <pc:sldMk cId="2079882386" sldId="1730"/>
            <ac:spMk id="2084" creationId="{69E332E4-80D7-A895-762F-14865BAEAD91}"/>
          </ac:spMkLst>
        </pc:spChg>
        <pc:spChg chg="mod topLvl">
          <ac:chgData name="Darius Kuddo" userId="da7555aa-d650-4d73-b00b-d01e713f1329" providerId="ADAL" clId="{9A4B509C-EEE7-485A-994E-5919214B754D}" dt="2025-02-20T01:52:04.057" v="2204" actId="165"/>
          <ac:spMkLst>
            <pc:docMk/>
            <pc:sldMk cId="2079882386" sldId="1730"/>
            <ac:spMk id="2085" creationId="{DBE76754-F801-274A-8917-99D5B85F446D}"/>
          </ac:spMkLst>
        </pc:spChg>
        <pc:spChg chg="mod topLvl">
          <ac:chgData name="Darius Kuddo" userId="da7555aa-d650-4d73-b00b-d01e713f1329" providerId="ADAL" clId="{9A4B509C-EEE7-485A-994E-5919214B754D}" dt="2025-02-20T01:52:04.057" v="2204" actId="165"/>
          <ac:spMkLst>
            <pc:docMk/>
            <pc:sldMk cId="2079882386" sldId="1730"/>
            <ac:spMk id="2086" creationId="{95F81EE0-2A96-7698-A7C7-0F1C782BF2CB}"/>
          </ac:spMkLst>
        </pc:spChg>
        <pc:spChg chg="mod topLvl">
          <ac:chgData name="Darius Kuddo" userId="da7555aa-d650-4d73-b00b-d01e713f1329" providerId="ADAL" clId="{9A4B509C-EEE7-485A-994E-5919214B754D}" dt="2025-02-20T01:52:04.057" v="2204" actId="165"/>
          <ac:spMkLst>
            <pc:docMk/>
            <pc:sldMk cId="2079882386" sldId="1730"/>
            <ac:spMk id="2087" creationId="{2D189A43-6A9B-FD14-E313-E157A6299E71}"/>
          </ac:spMkLst>
        </pc:spChg>
        <pc:spChg chg="mod topLvl">
          <ac:chgData name="Darius Kuddo" userId="da7555aa-d650-4d73-b00b-d01e713f1329" providerId="ADAL" clId="{9A4B509C-EEE7-485A-994E-5919214B754D}" dt="2025-02-20T01:52:04.057" v="2204" actId="165"/>
          <ac:spMkLst>
            <pc:docMk/>
            <pc:sldMk cId="2079882386" sldId="1730"/>
            <ac:spMk id="2089" creationId="{A1EFACD0-B800-2239-C123-8030273A038F}"/>
          </ac:spMkLst>
        </pc:spChg>
        <pc:spChg chg="mod topLvl">
          <ac:chgData name="Darius Kuddo" userId="da7555aa-d650-4d73-b00b-d01e713f1329" providerId="ADAL" clId="{9A4B509C-EEE7-485A-994E-5919214B754D}" dt="2025-02-20T01:52:04.057" v="2204" actId="165"/>
          <ac:spMkLst>
            <pc:docMk/>
            <pc:sldMk cId="2079882386" sldId="1730"/>
            <ac:spMk id="2090" creationId="{4596874B-5B6C-4C73-D384-8A32DD05FB6A}"/>
          </ac:spMkLst>
        </pc:spChg>
        <pc:spChg chg="mod topLvl">
          <ac:chgData name="Darius Kuddo" userId="da7555aa-d650-4d73-b00b-d01e713f1329" providerId="ADAL" clId="{9A4B509C-EEE7-485A-994E-5919214B754D}" dt="2025-02-20T01:52:04.057" v="2204" actId="165"/>
          <ac:spMkLst>
            <pc:docMk/>
            <pc:sldMk cId="2079882386" sldId="1730"/>
            <ac:spMk id="2091" creationId="{AC1C31DE-38AD-8475-CADC-DC4389B60863}"/>
          </ac:spMkLst>
        </pc:spChg>
        <pc:spChg chg="mod topLvl">
          <ac:chgData name="Darius Kuddo" userId="da7555aa-d650-4d73-b00b-d01e713f1329" providerId="ADAL" clId="{9A4B509C-EEE7-485A-994E-5919214B754D}" dt="2025-02-20T01:52:04.057" v="2204" actId="165"/>
          <ac:spMkLst>
            <pc:docMk/>
            <pc:sldMk cId="2079882386" sldId="1730"/>
            <ac:spMk id="2092" creationId="{C04567E0-55B3-C514-8007-091216B582B1}"/>
          </ac:spMkLst>
        </pc:spChg>
        <pc:spChg chg="mod topLvl">
          <ac:chgData name="Darius Kuddo" userId="da7555aa-d650-4d73-b00b-d01e713f1329" providerId="ADAL" clId="{9A4B509C-EEE7-485A-994E-5919214B754D}" dt="2025-02-20T01:52:04.057" v="2204" actId="165"/>
          <ac:spMkLst>
            <pc:docMk/>
            <pc:sldMk cId="2079882386" sldId="1730"/>
            <ac:spMk id="2093" creationId="{49FB69B4-ACBA-506B-C052-03767D9E505C}"/>
          </ac:spMkLst>
        </pc:spChg>
        <pc:spChg chg="mod topLvl">
          <ac:chgData name="Darius Kuddo" userId="da7555aa-d650-4d73-b00b-d01e713f1329" providerId="ADAL" clId="{9A4B509C-EEE7-485A-994E-5919214B754D}" dt="2025-02-20T01:52:04.057" v="2204" actId="165"/>
          <ac:spMkLst>
            <pc:docMk/>
            <pc:sldMk cId="2079882386" sldId="1730"/>
            <ac:spMk id="2094" creationId="{1CE362AE-F571-3241-2466-57640F1786CB}"/>
          </ac:spMkLst>
        </pc:spChg>
        <pc:spChg chg="mod ord topLvl">
          <ac:chgData name="Darius Kuddo" userId="da7555aa-d650-4d73-b00b-d01e713f1329" providerId="ADAL" clId="{9A4B509C-EEE7-485A-994E-5919214B754D}" dt="2025-02-20T01:53:12.869" v="2218" actId="167"/>
          <ac:spMkLst>
            <pc:docMk/>
            <pc:sldMk cId="2079882386" sldId="1730"/>
            <ac:spMk id="2095" creationId="{98CDDFEA-ABAB-1CE7-BE70-C5ED926EA41E}"/>
          </ac:spMkLst>
        </pc:spChg>
        <pc:spChg chg="mod topLvl">
          <ac:chgData name="Darius Kuddo" userId="da7555aa-d650-4d73-b00b-d01e713f1329" providerId="ADAL" clId="{9A4B509C-EEE7-485A-994E-5919214B754D}" dt="2025-02-20T18:40:14.946" v="4964" actId="108"/>
          <ac:spMkLst>
            <pc:docMk/>
            <pc:sldMk cId="2079882386" sldId="1730"/>
            <ac:spMk id="2096" creationId="{0B36791F-94CD-61A3-E38E-445C43BEA9C5}"/>
          </ac:spMkLst>
        </pc:spChg>
        <pc:spChg chg="del mod topLvl">
          <ac:chgData name="Darius Kuddo" userId="da7555aa-d650-4d73-b00b-d01e713f1329" providerId="ADAL" clId="{9A4B509C-EEE7-485A-994E-5919214B754D}" dt="2025-02-20T01:54:09.850" v="2220" actId="478"/>
          <ac:spMkLst>
            <pc:docMk/>
            <pc:sldMk cId="2079882386" sldId="1730"/>
            <ac:spMk id="2099" creationId="{7F415A6A-10EE-D792-A93A-F190F066DCBE}"/>
          </ac:spMkLst>
        </pc:spChg>
        <pc:spChg chg="mod topLvl">
          <ac:chgData name="Darius Kuddo" userId="da7555aa-d650-4d73-b00b-d01e713f1329" providerId="ADAL" clId="{9A4B509C-EEE7-485A-994E-5919214B754D}" dt="2025-02-20T01:52:04.057" v="2204" actId="165"/>
          <ac:spMkLst>
            <pc:docMk/>
            <pc:sldMk cId="2079882386" sldId="1730"/>
            <ac:spMk id="2100" creationId="{AA95F3B6-459F-D0DB-CBC7-54665B214CBB}"/>
          </ac:spMkLst>
        </pc:spChg>
        <pc:spChg chg="mod topLvl">
          <ac:chgData name="Darius Kuddo" userId="da7555aa-d650-4d73-b00b-d01e713f1329" providerId="ADAL" clId="{9A4B509C-EEE7-485A-994E-5919214B754D}" dt="2025-02-20T01:52:04.057" v="2204" actId="165"/>
          <ac:spMkLst>
            <pc:docMk/>
            <pc:sldMk cId="2079882386" sldId="1730"/>
            <ac:spMk id="2101" creationId="{DBC94235-B83B-A31E-DB4A-38421490A92C}"/>
          </ac:spMkLst>
        </pc:spChg>
        <pc:spChg chg="mod topLvl">
          <ac:chgData name="Darius Kuddo" userId="da7555aa-d650-4d73-b00b-d01e713f1329" providerId="ADAL" clId="{9A4B509C-EEE7-485A-994E-5919214B754D}" dt="2025-02-20T01:52:04.057" v="2204" actId="165"/>
          <ac:spMkLst>
            <pc:docMk/>
            <pc:sldMk cId="2079882386" sldId="1730"/>
            <ac:spMk id="2102" creationId="{EAF6DABC-7BEF-C25E-DD61-505E88BC537C}"/>
          </ac:spMkLst>
        </pc:spChg>
        <pc:spChg chg="mod topLvl">
          <ac:chgData name="Darius Kuddo" userId="da7555aa-d650-4d73-b00b-d01e713f1329" providerId="ADAL" clId="{9A4B509C-EEE7-485A-994E-5919214B754D}" dt="2025-02-20T01:52:04.057" v="2204" actId="165"/>
          <ac:spMkLst>
            <pc:docMk/>
            <pc:sldMk cId="2079882386" sldId="1730"/>
            <ac:spMk id="2103" creationId="{1907DEBC-E619-8581-7240-B443A7484127}"/>
          </ac:spMkLst>
        </pc:spChg>
        <pc:spChg chg="mod topLvl">
          <ac:chgData name="Darius Kuddo" userId="da7555aa-d650-4d73-b00b-d01e713f1329" providerId="ADAL" clId="{9A4B509C-EEE7-485A-994E-5919214B754D}" dt="2025-02-20T01:52:04.057" v="2204" actId="165"/>
          <ac:spMkLst>
            <pc:docMk/>
            <pc:sldMk cId="2079882386" sldId="1730"/>
            <ac:spMk id="2104" creationId="{1343622B-54E3-383F-7D0F-7A500D82D507}"/>
          </ac:spMkLst>
        </pc:spChg>
        <pc:spChg chg="mod topLvl">
          <ac:chgData name="Darius Kuddo" userId="da7555aa-d650-4d73-b00b-d01e713f1329" providerId="ADAL" clId="{9A4B509C-EEE7-485A-994E-5919214B754D}" dt="2025-02-20T01:52:04.057" v="2204" actId="165"/>
          <ac:spMkLst>
            <pc:docMk/>
            <pc:sldMk cId="2079882386" sldId="1730"/>
            <ac:spMk id="2106" creationId="{A2941AF0-41FD-AE23-464A-3413805CE340}"/>
          </ac:spMkLst>
        </pc:spChg>
        <pc:spChg chg="mod topLvl">
          <ac:chgData name="Darius Kuddo" userId="da7555aa-d650-4d73-b00b-d01e713f1329" providerId="ADAL" clId="{9A4B509C-EEE7-485A-994E-5919214B754D}" dt="2025-02-20T01:52:04.057" v="2204" actId="165"/>
          <ac:spMkLst>
            <pc:docMk/>
            <pc:sldMk cId="2079882386" sldId="1730"/>
            <ac:spMk id="2107" creationId="{183C38CF-18FF-8B72-8665-DA8781776617}"/>
          </ac:spMkLst>
        </pc:spChg>
        <pc:spChg chg="mod topLvl">
          <ac:chgData name="Darius Kuddo" userId="da7555aa-d650-4d73-b00b-d01e713f1329" providerId="ADAL" clId="{9A4B509C-EEE7-485A-994E-5919214B754D}" dt="2025-02-20T01:52:04.057" v="2204" actId="165"/>
          <ac:spMkLst>
            <pc:docMk/>
            <pc:sldMk cId="2079882386" sldId="1730"/>
            <ac:spMk id="2108" creationId="{3464E2A7-E846-6587-E25E-11E13CDE0547}"/>
          </ac:spMkLst>
        </pc:spChg>
        <pc:spChg chg="mod topLvl">
          <ac:chgData name="Darius Kuddo" userId="da7555aa-d650-4d73-b00b-d01e713f1329" providerId="ADAL" clId="{9A4B509C-EEE7-485A-994E-5919214B754D}" dt="2025-02-20T01:52:04.057" v="2204" actId="165"/>
          <ac:spMkLst>
            <pc:docMk/>
            <pc:sldMk cId="2079882386" sldId="1730"/>
            <ac:spMk id="2109" creationId="{09B54393-B931-F2D8-94C1-A7DF3803049A}"/>
          </ac:spMkLst>
        </pc:spChg>
        <pc:spChg chg="mod topLvl">
          <ac:chgData name="Darius Kuddo" userId="da7555aa-d650-4d73-b00b-d01e713f1329" providerId="ADAL" clId="{9A4B509C-EEE7-485A-994E-5919214B754D}" dt="2025-02-20T01:52:04.057" v="2204" actId="165"/>
          <ac:spMkLst>
            <pc:docMk/>
            <pc:sldMk cId="2079882386" sldId="1730"/>
            <ac:spMk id="2110" creationId="{09D65D77-2529-8A08-6D8A-1921487F4DA4}"/>
          </ac:spMkLst>
        </pc:spChg>
        <pc:spChg chg="mod topLvl">
          <ac:chgData name="Darius Kuddo" userId="da7555aa-d650-4d73-b00b-d01e713f1329" providerId="ADAL" clId="{9A4B509C-EEE7-485A-994E-5919214B754D}" dt="2025-02-20T01:52:04.057" v="2204" actId="165"/>
          <ac:spMkLst>
            <pc:docMk/>
            <pc:sldMk cId="2079882386" sldId="1730"/>
            <ac:spMk id="2111" creationId="{26AC0C78-3600-375A-8503-21B9F2BFBEE3}"/>
          </ac:spMkLst>
        </pc:spChg>
        <pc:spChg chg="mod ord">
          <ac:chgData name="Darius Kuddo" userId="da7555aa-d650-4d73-b00b-d01e713f1329" providerId="ADAL" clId="{9A4B509C-EEE7-485A-994E-5919214B754D}" dt="2025-02-20T01:53:12.869" v="2218" actId="167"/>
          <ac:spMkLst>
            <pc:docMk/>
            <pc:sldMk cId="2079882386" sldId="1730"/>
            <ac:spMk id="2471" creationId="{5AC2DAAF-3AE9-E6F7-2E20-40ACD608EEF1}"/>
          </ac:spMkLst>
        </pc:spChg>
        <pc:spChg chg="del">
          <ac:chgData name="Darius Kuddo" userId="da7555aa-d650-4d73-b00b-d01e713f1329" providerId="ADAL" clId="{9A4B509C-EEE7-485A-994E-5919214B754D}" dt="2025-02-20T01:54:09.850" v="2220" actId="478"/>
          <ac:spMkLst>
            <pc:docMk/>
            <pc:sldMk cId="2079882386" sldId="1730"/>
            <ac:spMk id="2473" creationId="{ACA964A8-7C2C-C2BE-47EE-BC7C9FFE4A5E}"/>
          </ac:spMkLst>
        </pc:spChg>
        <pc:spChg chg="mod topLvl">
          <ac:chgData name="Darius Kuddo" userId="da7555aa-d650-4d73-b00b-d01e713f1329" providerId="ADAL" clId="{9A4B509C-EEE7-485A-994E-5919214B754D}" dt="2025-02-20T01:52:04.057" v="2204" actId="165"/>
          <ac:spMkLst>
            <pc:docMk/>
            <pc:sldMk cId="2079882386" sldId="1730"/>
            <ac:spMk id="2475" creationId="{1FA3F317-E3F0-2D3A-1FAE-DBC3381DDF81}"/>
          </ac:spMkLst>
        </pc:spChg>
        <pc:spChg chg="mod ord topLvl">
          <ac:chgData name="Darius Kuddo" userId="da7555aa-d650-4d73-b00b-d01e713f1329" providerId="ADAL" clId="{9A4B509C-EEE7-485A-994E-5919214B754D}" dt="2025-02-20T01:53:12.869" v="2218" actId="167"/>
          <ac:spMkLst>
            <pc:docMk/>
            <pc:sldMk cId="2079882386" sldId="1730"/>
            <ac:spMk id="2476" creationId="{04184F60-5A13-52A0-56ED-AC55EBDE8394}"/>
          </ac:spMkLst>
        </pc:spChg>
        <pc:spChg chg="mod topLvl">
          <ac:chgData name="Darius Kuddo" userId="da7555aa-d650-4d73-b00b-d01e713f1329" providerId="ADAL" clId="{9A4B509C-EEE7-485A-994E-5919214B754D}" dt="2025-02-20T01:52:04.057" v="2204" actId="165"/>
          <ac:spMkLst>
            <pc:docMk/>
            <pc:sldMk cId="2079882386" sldId="1730"/>
            <ac:spMk id="2477" creationId="{43BAB22F-219C-4AB0-3059-5839668DD3E3}"/>
          </ac:spMkLst>
        </pc:spChg>
        <pc:spChg chg="del mod topLvl">
          <ac:chgData name="Darius Kuddo" userId="da7555aa-d650-4d73-b00b-d01e713f1329" providerId="ADAL" clId="{9A4B509C-EEE7-485A-994E-5919214B754D}" dt="2025-02-20T01:54:09.850" v="2220" actId="478"/>
          <ac:spMkLst>
            <pc:docMk/>
            <pc:sldMk cId="2079882386" sldId="1730"/>
            <ac:spMk id="2478" creationId="{F0EFBA04-7A27-E4CC-1F86-493A39554386}"/>
          </ac:spMkLst>
        </pc:spChg>
        <pc:spChg chg="mod topLvl">
          <ac:chgData name="Darius Kuddo" userId="da7555aa-d650-4d73-b00b-d01e713f1329" providerId="ADAL" clId="{9A4B509C-EEE7-485A-994E-5919214B754D}" dt="2025-02-20T01:52:04.057" v="2204" actId="165"/>
          <ac:spMkLst>
            <pc:docMk/>
            <pc:sldMk cId="2079882386" sldId="1730"/>
            <ac:spMk id="2479" creationId="{4A40A3DB-F0F9-FCC5-10A1-0421FABA38C3}"/>
          </ac:spMkLst>
        </pc:spChg>
        <pc:spChg chg="mod topLvl">
          <ac:chgData name="Darius Kuddo" userId="da7555aa-d650-4d73-b00b-d01e713f1329" providerId="ADAL" clId="{9A4B509C-EEE7-485A-994E-5919214B754D}" dt="2025-02-20T01:52:04.057" v="2204" actId="165"/>
          <ac:spMkLst>
            <pc:docMk/>
            <pc:sldMk cId="2079882386" sldId="1730"/>
            <ac:spMk id="2483" creationId="{FFF2447D-93A3-66CD-4368-4FF655408B65}"/>
          </ac:spMkLst>
        </pc:spChg>
        <pc:spChg chg="mod ord topLvl">
          <ac:chgData name="Darius Kuddo" userId="da7555aa-d650-4d73-b00b-d01e713f1329" providerId="ADAL" clId="{9A4B509C-EEE7-485A-994E-5919214B754D}" dt="2025-02-20T01:53:12.869" v="2218" actId="167"/>
          <ac:spMkLst>
            <pc:docMk/>
            <pc:sldMk cId="2079882386" sldId="1730"/>
            <ac:spMk id="2484" creationId="{A488B9C0-A035-B604-CC69-30C34B412033}"/>
          </ac:spMkLst>
        </pc:spChg>
        <pc:spChg chg="mod topLvl">
          <ac:chgData name="Darius Kuddo" userId="da7555aa-d650-4d73-b00b-d01e713f1329" providerId="ADAL" clId="{9A4B509C-EEE7-485A-994E-5919214B754D}" dt="2025-02-20T01:52:04.057" v="2204" actId="165"/>
          <ac:spMkLst>
            <pc:docMk/>
            <pc:sldMk cId="2079882386" sldId="1730"/>
            <ac:spMk id="2485" creationId="{0AACDBA5-1F03-D090-6398-E625F79036F3}"/>
          </ac:spMkLst>
        </pc:spChg>
        <pc:spChg chg="del mod topLvl">
          <ac:chgData name="Darius Kuddo" userId="da7555aa-d650-4d73-b00b-d01e713f1329" providerId="ADAL" clId="{9A4B509C-EEE7-485A-994E-5919214B754D}" dt="2025-02-20T01:54:09.850" v="2220" actId="478"/>
          <ac:spMkLst>
            <pc:docMk/>
            <pc:sldMk cId="2079882386" sldId="1730"/>
            <ac:spMk id="2486" creationId="{E75F7B49-214A-9C32-1336-186DC199E06A}"/>
          </ac:spMkLst>
        </pc:spChg>
        <pc:spChg chg="mod ord">
          <ac:chgData name="Darius Kuddo" userId="da7555aa-d650-4d73-b00b-d01e713f1329" providerId="ADAL" clId="{9A4B509C-EEE7-485A-994E-5919214B754D}" dt="2025-02-20T01:53:12.869" v="2218" actId="167"/>
          <ac:spMkLst>
            <pc:docMk/>
            <pc:sldMk cId="2079882386" sldId="1730"/>
            <ac:spMk id="2490" creationId="{6A7423B6-65CF-4F6C-901E-154D794D608E}"/>
          </ac:spMkLst>
        </pc:spChg>
        <pc:spChg chg="del">
          <ac:chgData name="Darius Kuddo" userId="da7555aa-d650-4d73-b00b-d01e713f1329" providerId="ADAL" clId="{9A4B509C-EEE7-485A-994E-5919214B754D}" dt="2025-02-20T01:54:09.850" v="2220" actId="478"/>
          <ac:spMkLst>
            <pc:docMk/>
            <pc:sldMk cId="2079882386" sldId="1730"/>
            <ac:spMk id="2492" creationId="{54878A1C-F8E6-1230-9AD6-5DE4E4A7196A}"/>
          </ac:spMkLst>
        </pc:spChg>
        <pc:spChg chg="mod ord topLvl">
          <ac:chgData name="Darius Kuddo" userId="da7555aa-d650-4d73-b00b-d01e713f1329" providerId="ADAL" clId="{9A4B509C-EEE7-485A-994E-5919214B754D}" dt="2025-02-20T01:53:12.869" v="2218" actId="167"/>
          <ac:spMkLst>
            <pc:docMk/>
            <pc:sldMk cId="2079882386" sldId="1730"/>
            <ac:spMk id="2495" creationId="{FDEA41F1-2A92-5B35-4114-34F0222D6BFF}"/>
          </ac:spMkLst>
        </pc:spChg>
        <pc:grpChg chg="del">
          <ac:chgData name="Darius Kuddo" userId="da7555aa-d650-4d73-b00b-d01e713f1329" providerId="ADAL" clId="{9A4B509C-EEE7-485A-994E-5919214B754D}" dt="2025-02-20T01:52:59.524" v="2217" actId="478"/>
          <ac:grpSpMkLst>
            <pc:docMk/>
            <pc:sldMk cId="2079882386" sldId="1730"/>
            <ac:grpSpMk id="3" creationId="{9EF2167E-309F-40F2-FA0E-A013A7B7A206}"/>
          </ac:grpSpMkLst>
        </pc:grpChg>
        <pc:grpChg chg="del">
          <ac:chgData name="Darius Kuddo" userId="da7555aa-d650-4d73-b00b-d01e713f1329" providerId="ADAL" clId="{9A4B509C-EEE7-485A-994E-5919214B754D}" dt="2025-02-20T01:52:04.057" v="2204" actId="165"/>
          <ac:grpSpMkLst>
            <pc:docMk/>
            <pc:sldMk cId="2079882386" sldId="1730"/>
            <ac:grpSpMk id="196" creationId="{986601BB-C09B-89FC-3266-54DEC6B19889}"/>
          </ac:grpSpMkLst>
        </pc:grpChg>
        <pc:grpChg chg="del">
          <ac:chgData name="Darius Kuddo" userId="da7555aa-d650-4d73-b00b-d01e713f1329" providerId="ADAL" clId="{9A4B509C-EEE7-485A-994E-5919214B754D}" dt="2025-02-20T01:52:04.057" v="2204" actId="165"/>
          <ac:grpSpMkLst>
            <pc:docMk/>
            <pc:sldMk cId="2079882386" sldId="1730"/>
            <ac:grpSpMk id="244" creationId="{6574BAC5-7E7A-1414-56D1-DF7CF5C9ADAC}"/>
          </ac:grpSpMkLst>
        </pc:grpChg>
        <pc:grpChg chg="del">
          <ac:chgData name="Darius Kuddo" userId="da7555aa-d650-4d73-b00b-d01e713f1329" providerId="ADAL" clId="{9A4B509C-EEE7-485A-994E-5919214B754D}" dt="2025-02-20T01:52:04.057" v="2204" actId="165"/>
          <ac:grpSpMkLst>
            <pc:docMk/>
            <pc:sldMk cId="2079882386" sldId="1730"/>
            <ac:grpSpMk id="252" creationId="{248E1CAD-4816-0B56-4288-AD0EDB5EDF8B}"/>
          </ac:grpSpMkLst>
        </pc:grpChg>
        <pc:grpChg chg="del mod topLvl">
          <ac:chgData name="Darius Kuddo" userId="da7555aa-d650-4d73-b00b-d01e713f1329" providerId="ADAL" clId="{9A4B509C-EEE7-485A-994E-5919214B754D}" dt="2025-02-20T01:52:07.698" v="2205" actId="165"/>
          <ac:grpSpMkLst>
            <pc:docMk/>
            <pc:sldMk cId="2079882386" sldId="1730"/>
            <ac:grpSpMk id="253" creationId="{7FC46A38-2D48-7EB1-73D1-0D238E3917F7}"/>
          </ac:grpSpMkLst>
        </pc:grpChg>
        <pc:grpChg chg="del mod topLvl">
          <ac:chgData name="Darius Kuddo" userId="da7555aa-d650-4d73-b00b-d01e713f1329" providerId="ADAL" clId="{9A4B509C-EEE7-485A-994E-5919214B754D}" dt="2025-02-20T01:52:07.698" v="2205" actId="165"/>
          <ac:grpSpMkLst>
            <pc:docMk/>
            <pc:sldMk cId="2079882386" sldId="1730"/>
            <ac:grpSpMk id="254" creationId="{FCF81E8C-19A4-B2E2-BA3D-F930D81F0904}"/>
          </ac:grpSpMkLst>
        </pc:grpChg>
        <pc:grpChg chg="del">
          <ac:chgData name="Darius Kuddo" userId="da7555aa-d650-4d73-b00b-d01e713f1329" providerId="ADAL" clId="{9A4B509C-EEE7-485A-994E-5919214B754D}" dt="2025-02-20T01:52:04.057" v="2204" actId="165"/>
          <ac:grpSpMkLst>
            <pc:docMk/>
            <pc:sldMk cId="2079882386" sldId="1730"/>
            <ac:grpSpMk id="257" creationId="{9016BEE8-24D3-335B-B680-708D3D8E435B}"/>
          </ac:grpSpMkLst>
        </pc:grpChg>
        <pc:grpChg chg="del">
          <ac:chgData name="Darius Kuddo" userId="da7555aa-d650-4d73-b00b-d01e713f1329" providerId="ADAL" clId="{9A4B509C-EEE7-485A-994E-5919214B754D}" dt="2025-02-20T01:52:04.057" v="2204" actId="165"/>
          <ac:grpSpMkLst>
            <pc:docMk/>
            <pc:sldMk cId="2079882386" sldId="1730"/>
            <ac:grpSpMk id="281" creationId="{5AC5A1CB-72B6-DC43-5B48-1DEF3E71C630}"/>
          </ac:grpSpMkLst>
        </pc:grpChg>
        <pc:grpChg chg="del">
          <ac:chgData name="Darius Kuddo" userId="da7555aa-d650-4d73-b00b-d01e713f1329" providerId="ADAL" clId="{9A4B509C-EEE7-485A-994E-5919214B754D}" dt="2025-02-20T01:52:04.057" v="2204" actId="165"/>
          <ac:grpSpMkLst>
            <pc:docMk/>
            <pc:sldMk cId="2079882386" sldId="1730"/>
            <ac:grpSpMk id="307" creationId="{B7DA11D9-51A5-9AD4-6FCF-A99E00077044}"/>
          </ac:grpSpMkLst>
        </pc:grpChg>
        <pc:grpChg chg="del mod topLvl">
          <ac:chgData name="Darius Kuddo" userId="da7555aa-d650-4d73-b00b-d01e713f1329" providerId="ADAL" clId="{9A4B509C-EEE7-485A-994E-5919214B754D}" dt="2025-02-20T01:52:07.698" v="2205" actId="165"/>
          <ac:grpSpMkLst>
            <pc:docMk/>
            <pc:sldMk cId="2079882386" sldId="1730"/>
            <ac:grpSpMk id="308" creationId="{E4ECF72E-BF09-8713-308D-7B4B5297FA3D}"/>
          </ac:grpSpMkLst>
        </pc:grpChg>
        <pc:grpChg chg="del">
          <ac:chgData name="Darius Kuddo" userId="da7555aa-d650-4d73-b00b-d01e713f1329" providerId="ADAL" clId="{9A4B509C-EEE7-485A-994E-5919214B754D}" dt="2025-02-20T01:52:04.057" v="2204" actId="165"/>
          <ac:grpSpMkLst>
            <pc:docMk/>
            <pc:sldMk cId="2079882386" sldId="1730"/>
            <ac:grpSpMk id="315" creationId="{0FC3A2F4-0651-0AAD-8FB1-EE6AE9441CB3}"/>
          </ac:grpSpMkLst>
        </pc:grpChg>
        <pc:grpChg chg="del mod topLvl">
          <ac:chgData name="Darius Kuddo" userId="da7555aa-d650-4d73-b00b-d01e713f1329" providerId="ADAL" clId="{9A4B509C-EEE7-485A-994E-5919214B754D}" dt="2025-02-20T01:52:07.698" v="2205" actId="165"/>
          <ac:grpSpMkLst>
            <pc:docMk/>
            <pc:sldMk cId="2079882386" sldId="1730"/>
            <ac:grpSpMk id="337" creationId="{13621A59-B750-4F45-98A0-9A728B5CF880}"/>
          </ac:grpSpMkLst>
        </pc:grpChg>
        <pc:grpChg chg="del">
          <ac:chgData name="Darius Kuddo" userId="da7555aa-d650-4d73-b00b-d01e713f1329" providerId="ADAL" clId="{9A4B509C-EEE7-485A-994E-5919214B754D}" dt="2025-02-20T01:52:04.057" v="2204" actId="165"/>
          <ac:grpSpMkLst>
            <pc:docMk/>
            <pc:sldMk cId="2079882386" sldId="1730"/>
            <ac:grpSpMk id="340" creationId="{819A8B55-7985-15D3-3044-993492255AAC}"/>
          </ac:grpSpMkLst>
        </pc:grpChg>
        <pc:grpChg chg="del">
          <ac:chgData name="Darius Kuddo" userId="da7555aa-d650-4d73-b00b-d01e713f1329" providerId="ADAL" clId="{9A4B509C-EEE7-485A-994E-5919214B754D}" dt="2025-02-20T01:52:04.057" v="2204" actId="165"/>
          <ac:grpSpMkLst>
            <pc:docMk/>
            <pc:sldMk cId="2079882386" sldId="1730"/>
            <ac:grpSpMk id="2061" creationId="{25A53454-0411-D060-9EB2-662ABD57EF01}"/>
          </ac:grpSpMkLst>
        </pc:grpChg>
        <pc:grpChg chg="del">
          <ac:chgData name="Darius Kuddo" userId="da7555aa-d650-4d73-b00b-d01e713f1329" providerId="ADAL" clId="{9A4B509C-EEE7-485A-994E-5919214B754D}" dt="2025-02-20T01:52:04.057" v="2204" actId="165"/>
          <ac:grpSpMkLst>
            <pc:docMk/>
            <pc:sldMk cId="2079882386" sldId="1730"/>
            <ac:grpSpMk id="2088" creationId="{EC9726A1-69DE-29A4-EC4D-5DE0EA3DB3CC}"/>
          </ac:grpSpMkLst>
        </pc:grpChg>
        <pc:grpChg chg="del">
          <ac:chgData name="Darius Kuddo" userId="da7555aa-d650-4d73-b00b-d01e713f1329" providerId="ADAL" clId="{9A4B509C-EEE7-485A-994E-5919214B754D}" dt="2025-02-20T01:52:04.057" v="2204" actId="165"/>
          <ac:grpSpMkLst>
            <pc:docMk/>
            <pc:sldMk cId="2079882386" sldId="1730"/>
            <ac:grpSpMk id="2474" creationId="{A7E62A3F-B4F5-ACCF-0F34-73550BFE1D80}"/>
          </ac:grpSpMkLst>
        </pc:grpChg>
        <pc:grpChg chg="del">
          <ac:chgData name="Darius Kuddo" userId="da7555aa-d650-4d73-b00b-d01e713f1329" providerId="ADAL" clId="{9A4B509C-EEE7-485A-994E-5919214B754D}" dt="2025-02-20T01:52:04.057" v="2204" actId="165"/>
          <ac:grpSpMkLst>
            <pc:docMk/>
            <pc:sldMk cId="2079882386" sldId="1730"/>
            <ac:grpSpMk id="2482" creationId="{EC758B25-A788-F34B-F7D1-FB728FAB29BD}"/>
          </ac:grpSpMkLst>
        </pc:grpChg>
        <pc:grpChg chg="del">
          <ac:chgData name="Darius Kuddo" userId="da7555aa-d650-4d73-b00b-d01e713f1329" providerId="ADAL" clId="{9A4B509C-EEE7-485A-994E-5919214B754D}" dt="2025-02-20T01:52:04.057" v="2204" actId="165"/>
          <ac:grpSpMkLst>
            <pc:docMk/>
            <pc:sldMk cId="2079882386" sldId="1730"/>
            <ac:grpSpMk id="2493" creationId="{048EB248-1707-402C-DA32-3598EE98F535}"/>
          </ac:grpSpMkLst>
        </pc:grpChg>
        <pc:graphicFrameChg chg="mod modGraphic">
          <ac:chgData name="Darius Kuddo" userId="da7555aa-d650-4d73-b00b-d01e713f1329" providerId="ADAL" clId="{9A4B509C-EEE7-485A-994E-5919214B754D}" dt="2025-02-20T02:40:15.423" v="4635" actId="20577"/>
          <ac:graphicFrameMkLst>
            <pc:docMk/>
            <pc:sldMk cId="2079882386" sldId="1730"/>
            <ac:graphicFrameMk id="2" creationId="{08FD3C1C-B16D-C42F-944C-560011957D7C}"/>
          </ac:graphicFrameMkLst>
        </pc:graphicFrameChg>
        <pc:picChg chg="mod topLvl">
          <ac:chgData name="Darius Kuddo" userId="da7555aa-d650-4d73-b00b-d01e713f1329" providerId="ADAL" clId="{9A4B509C-EEE7-485A-994E-5919214B754D}" dt="2025-02-20T18:40:34.096" v="4976" actId="1035"/>
          <ac:picMkLst>
            <pc:docMk/>
            <pc:sldMk cId="2079882386" sldId="1730"/>
            <ac:picMk id="250" creationId="{F7AA4CEB-DCFD-BAC8-5E40-22492CB570D8}"/>
          </ac:picMkLst>
        </pc:picChg>
        <pc:picChg chg="mod topLvl">
          <ac:chgData name="Darius Kuddo" userId="da7555aa-d650-4d73-b00b-d01e713f1329" providerId="ADAL" clId="{9A4B509C-EEE7-485A-994E-5919214B754D}" dt="2025-02-20T01:52:04.057" v="2204" actId="165"/>
          <ac:picMkLst>
            <pc:docMk/>
            <pc:sldMk cId="2079882386" sldId="1730"/>
            <ac:picMk id="251" creationId="{5BE80CA0-DF5A-8749-452D-E98859B86C99}"/>
          </ac:picMkLst>
        </pc:picChg>
        <pc:picChg chg="mod topLvl">
          <ac:chgData name="Darius Kuddo" userId="da7555aa-d650-4d73-b00b-d01e713f1329" providerId="ADAL" clId="{9A4B509C-EEE7-485A-994E-5919214B754D}" dt="2025-02-20T01:52:04.057" v="2204" actId="165"/>
          <ac:picMkLst>
            <pc:docMk/>
            <pc:sldMk cId="2079882386" sldId="1730"/>
            <ac:picMk id="305" creationId="{7DF0CAE6-3820-74D0-BCD8-A1A327E2CC7F}"/>
          </ac:picMkLst>
        </pc:picChg>
        <pc:picChg chg="mod topLvl">
          <ac:chgData name="Darius Kuddo" userId="da7555aa-d650-4d73-b00b-d01e713f1329" providerId="ADAL" clId="{9A4B509C-EEE7-485A-994E-5919214B754D}" dt="2025-02-20T01:52:04.057" v="2204" actId="165"/>
          <ac:picMkLst>
            <pc:docMk/>
            <pc:sldMk cId="2079882386" sldId="1730"/>
            <ac:picMk id="306" creationId="{A6212C39-4DE6-91BD-ED15-FED06CFA44D8}"/>
          </ac:picMkLst>
        </pc:picChg>
        <pc:picChg chg="mod topLvl">
          <ac:chgData name="Darius Kuddo" userId="da7555aa-d650-4d73-b00b-d01e713f1329" providerId="ADAL" clId="{9A4B509C-EEE7-485A-994E-5919214B754D}" dt="2025-02-20T01:52:04.057" v="2204" actId="165"/>
          <ac:picMkLst>
            <pc:docMk/>
            <pc:sldMk cId="2079882386" sldId="1730"/>
            <ac:picMk id="310" creationId="{E671F71C-E178-0911-5D3C-9CA432BD7DB5}"/>
          </ac:picMkLst>
        </pc:picChg>
        <pc:picChg chg="mod topLvl">
          <ac:chgData name="Darius Kuddo" userId="da7555aa-d650-4d73-b00b-d01e713f1329" providerId="ADAL" clId="{9A4B509C-EEE7-485A-994E-5919214B754D}" dt="2025-02-20T01:52:04.057" v="2204" actId="165"/>
          <ac:picMkLst>
            <pc:docMk/>
            <pc:sldMk cId="2079882386" sldId="1730"/>
            <ac:picMk id="311" creationId="{0BCDA262-1337-2657-BED3-53E1EC6E1E0A}"/>
          </ac:picMkLst>
        </pc:picChg>
        <pc:picChg chg="mod topLvl">
          <ac:chgData name="Darius Kuddo" userId="da7555aa-d650-4d73-b00b-d01e713f1329" providerId="ADAL" clId="{9A4B509C-EEE7-485A-994E-5919214B754D}" dt="2025-02-20T01:52:04.057" v="2204" actId="165"/>
          <ac:picMkLst>
            <pc:docMk/>
            <pc:sldMk cId="2079882386" sldId="1730"/>
            <ac:picMk id="335" creationId="{DA00EB19-530C-D82B-DAF1-FE7A816C532F}"/>
          </ac:picMkLst>
        </pc:picChg>
        <pc:picChg chg="mod topLvl">
          <ac:chgData name="Darius Kuddo" userId="da7555aa-d650-4d73-b00b-d01e713f1329" providerId="ADAL" clId="{9A4B509C-EEE7-485A-994E-5919214B754D}" dt="2025-02-20T01:52:04.057" v="2204" actId="165"/>
          <ac:picMkLst>
            <pc:docMk/>
            <pc:sldMk cId="2079882386" sldId="1730"/>
            <ac:picMk id="336" creationId="{16CAD115-BA34-A03A-4D4E-9001B80A7FFF}"/>
          </ac:picMkLst>
        </pc:picChg>
        <pc:picChg chg="mod topLvl">
          <ac:chgData name="Darius Kuddo" userId="da7555aa-d650-4d73-b00b-d01e713f1329" providerId="ADAL" clId="{9A4B509C-EEE7-485A-994E-5919214B754D}" dt="2025-02-20T01:52:07.698" v="2205" actId="165"/>
          <ac:picMkLst>
            <pc:docMk/>
            <pc:sldMk cId="2079882386" sldId="1730"/>
            <ac:picMk id="338" creationId="{1ECB95DA-8B11-1AD9-2558-FEE2957249D6}"/>
          </ac:picMkLst>
        </pc:picChg>
        <pc:picChg chg="mod topLvl">
          <ac:chgData name="Darius Kuddo" userId="da7555aa-d650-4d73-b00b-d01e713f1329" providerId="ADAL" clId="{9A4B509C-EEE7-485A-994E-5919214B754D}" dt="2025-02-20T01:52:07.698" v="2205" actId="165"/>
          <ac:picMkLst>
            <pc:docMk/>
            <pc:sldMk cId="2079882386" sldId="1730"/>
            <ac:picMk id="339" creationId="{0D9D42A9-544E-0FB6-ADAB-9B7B7C50F951}"/>
          </ac:picMkLst>
        </pc:picChg>
        <pc:picChg chg="mod topLvl">
          <ac:chgData name="Darius Kuddo" userId="da7555aa-d650-4d73-b00b-d01e713f1329" providerId="ADAL" clId="{9A4B509C-EEE7-485A-994E-5919214B754D}" dt="2025-02-20T01:52:07.698" v="2205" actId="165"/>
          <ac:picMkLst>
            <pc:docMk/>
            <pc:sldMk cId="2079882386" sldId="1730"/>
            <ac:picMk id="2052" creationId="{2960D9AF-A753-3A17-C614-BC534FB3E807}"/>
          </ac:picMkLst>
        </pc:picChg>
        <pc:picChg chg="mod topLvl">
          <ac:chgData name="Darius Kuddo" userId="da7555aa-d650-4d73-b00b-d01e713f1329" providerId="ADAL" clId="{9A4B509C-EEE7-485A-994E-5919214B754D}" dt="2025-02-20T01:52:07.698" v="2205" actId="165"/>
          <ac:picMkLst>
            <pc:docMk/>
            <pc:sldMk cId="2079882386" sldId="1730"/>
            <ac:picMk id="2053" creationId="{6AD3C42E-6931-12CC-F50C-1FD19BABA108}"/>
          </ac:picMkLst>
        </pc:picChg>
        <pc:picChg chg="mod topLvl">
          <ac:chgData name="Darius Kuddo" userId="da7555aa-d650-4d73-b00b-d01e713f1329" providerId="ADAL" clId="{9A4B509C-EEE7-485A-994E-5919214B754D}" dt="2025-02-20T01:52:07.698" v="2205" actId="165"/>
          <ac:picMkLst>
            <pc:docMk/>
            <pc:sldMk cId="2079882386" sldId="1730"/>
            <ac:picMk id="2054" creationId="{06F14C22-6CF9-E391-7CD2-CE2F3FE8353E}"/>
          </ac:picMkLst>
        </pc:picChg>
        <pc:picChg chg="mod topLvl">
          <ac:chgData name="Darius Kuddo" userId="da7555aa-d650-4d73-b00b-d01e713f1329" providerId="ADAL" clId="{9A4B509C-EEE7-485A-994E-5919214B754D}" dt="2025-02-20T01:52:07.698" v="2205" actId="165"/>
          <ac:picMkLst>
            <pc:docMk/>
            <pc:sldMk cId="2079882386" sldId="1730"/>
            <ac:picMk id="2059" creationId="{BDBE63E2-C73D-8675-A24D-3E1DEE2A93E3}"/>
          </ac:picMkLst>
        </pc:picChg>
        <pc:picChg chg="mod topLvl">
          <ac:chgData name="Darius Kuddo" userId="da7555aa-d650-4d73-b00b-d01e713f1329" providerId="ADAL" clId="{9A4B509C-EEE7-485A-994E-5919214B754D}" dt="2025-02-20T01:52:07.698" v="2205" actId="165"/>
          <ac:picMkLst>
            <pc:docMk/>
            <pc:sldMk cId="2079882386" sldId="1730"/>
            <ac:picMk id="2060" creationId="{14CFB395-A1D8-0676-C224-7A86283D80AF}"/>
          </ac:picMkLst>
        </pc:picChg>
        <pc:picChg chg="mod topLvl">
          <ac:chgData name="Darius Kuddo" userId="da7555aa-d650-4d73-b00b-d01e713f1329" providerId="ADAL" clId="{9A4B509C-EEE7-485A-994E-5919214B754D}" dt="2025-02-20T01:52:04.057" v="2204" actId="165"/>
          <ac:picMkLst>
            <pc:docMk/>
            <pc:sldMk cId="2079882386" sldId="1730"/>
            <ac:picMk id="2480" creationId="{E16CFEAB-0961-7890-F408-DF9E3F7AEBF4}"/>
          </ac:picMkLst>
        </pc:picChg>
        <pc:picChg chg="mod topLvl">
          <ac:chgData name="Darius Kuddo" userId="da7555aa-d650-4d73-b00b-d01e713f1329" providerId="ADAL" clId="{9A4B509C-EEE7-485A-994E-5919214B754D}" dt="2025-02-20T01:52:04.057" v="2204" actId="165"/>
          <ac:picMkLst>
            <pc:docMk/>
            <pc:sldMk cId="2079882386" sldId="1730"/>
            <ac:picMk id="2481" creationId="{EE30C65C-7123-8AD3-B936-6E3D345E0B5F}"/>
          </ac:picMkLst>
        </pc:picChg>
        <pc:picChg chg="mod topLvl">
          <ac:chgData name="Darius Kuddo" userId="da7555aa-d650-4d73-b00b-d01e713f1329" providerId="ADAL" clId="{9A4B509C-EEE7-485A-994E-5919214B754D}" dt="2025-02-20T01:52:04.057" v="2204" actId="165"/>
          <ac:picMkLst>
            <pc:docMk/>
            <pc:sldMk cId="2079882386" sldId="1730"/>
            <ac:picMk id="2487" creationId="{4F62AE27-3957-D498-6460-191AE31B9082}"/>
          </ac:picMkLst>
        </pc:picChg>
        <pc:picChg chg="mod topLvl">
          <ac:chgData name="Darius Kuddo" userId="da7555aa-d650-4d73-b00b-d01e713f1329" providerId="ADAL" clId="{9A4B509C-EEE7-485A-994E-5919214B754D}" dt="2025-02-20T01:52:04.057" v="2204" actId="165"/>
          <ac:picMkLst>
            <pc:docMk/>
            <pc:sldMk cId="2079882386" sldId="1730"/>
            <ac:picMk id="2488" creationId="{F4745D9E-7E55-88A0-0638-96B350189188}"/>
          </ac:picMkLst>
        </pc:picChg>
        <pc:picChg chg="mod topLvl">
          <ac:chgData name="Darius Kuddo" userId="da7555aa-d650-4d73-b00b-d01e713f1329" providerId="ADAL" clId="{9A4B509C-EEE7-485A-994E-5919214B754D}" dt="2025-02-20T01:52:04.057" v="2204" actId="165"/>
          <ac:picMkLst>
            <pc:docMk/>
            <pc:sldMk cId="2079882386" sldId="1730"/>
            <ac:picMk id="2494" creationId="{796BC6E2-578B-EA37-84CE-8B55708FAF09}"/>
          </ac:picMkLst>
        </pc:picChg>
      </pc:sldChg>
      <pc:sldChg chg="add del">
        <pc:chgData name="Darius Kuddo" userId="da7555aa-d650-4d73-b00b-d01e713f1329" providerId="ADAL" clId="{9A4B509C-EEE7-485A-994E-5919214B754D}" dt="2025-02-20T01:51:53.872" v="2202" actId="47"/>
        <pc:sldMkLst>
          <pc:docMk/>
          <pc:sldMk cId="4217981809" sldId="1730"/>
        </pc:sldMkLst>
      </pc:sldChg>
      <pc:sldMasterChg chg="modSldLayout">
        <pc:chgData name="Darius Kuddo" userId="da7555aa-d650-4d73-b00b-d01e713f1329" providerId="ADAL" clId="{9A4B509C-EEE7-485A-994E-5919214B754D}" dt="2025-02-20T01:51:36.284" v="2198"/>
        <pc:sldMasterMkLst>
          <pc:docMk/>
          <pc:sldMasterMk cId="1593416392" sldId="2147483660"/>
        </pc:sldMasterMkLst>
        <pc:sldLayoutChg chg="addSp delSp modSp mod">
          <pc:chgData name="Darius Kuddo" userId="da7555aa-d650-4d73-b00b-d01e713f1329" providerId="ADAL" clId="{9A4B509C-EEE7-485A-994E-5919214B754D}" dt="2025-02-20T01:51:36.284" v="2198"/>
          <pc:sldLayoutMkLst>
            <pc:docMk/>
            <pc:sldMasterMk cId="1593416392" sldId="2147483660"/>
            <pc:sldLayoutMk cId="2747287672" sldId="2147483661"/>
          </pc:sldLayoutMkLst>
          <pc:spChg chg="add del mod modVis">
            <ac:chgData name="Darius Kuddo" userId="da7555aa-d650-4d73-b00b-d01e713f1329" providerId="ADAL" clId="{9A4B509C-EEE7-485A-994E-5919214B754D}" dt="2025-02-20T00:56:52.475" v="399"/>
            <ac:spMkLst>
              <pc:docMk/>
              <pc:sldMasterMk cId="1593416392" sldId="2147483660"/>
              <pc:sldLayoutMk cId="2747287672" sldId="2147483661"/>
              <ac:spMk id="2" creationId="{C29C7F63-F19F-EBB6-8AB7-D6E8648CF0A0}"/>
            </ac:spMkLst>
          </pc:spChg>
          <pc:spChg chg="add del mod modVis">
            <ac:chgData name="Darius Kuddo" userId="da7555aa-d650-4d73-b00b-d01e713f1329" providerId="ADAL" clId="{9A4B509C-EEE7-485A-994E-5919214B754D}" dt="2025-02-20T01:00:36.106" v="752"/>
            <ac:spMkLst>
              <pc:docMk/>
              <pc:sldMasterMk cId="1593416392" sldId="2147483660"/>
              <pc:sldLayoutMk cId="2747287672" sldId="2147483661"/>
              <ac:spMk id="3" creationId="{6C75207C-1097-E7D7-0B3A-CE2D4B4E7799}"/>
            </ac:spMkLst>
          </pc:spChg>
          <pc:spChg chg="add del mod modVis">
            <ac:chgData name="Darius Kuddo" userId="da7555aa-d650-4d73-b00b-d01e713f1329" providerId="ADAL" clId="{9A4B509C-EEE7-485A-994E-5919214B754D}" dt="2025-02-20T01:02:06.476" v="834"/>
            <ac:spMkLst>
              <pc:docMk/>
              <pc:sldMasterMk cId="1593416392" sldId="2147483660"/>
              <pc:sldLayoutMk cId="2747287672" sldId="2147483661"/>
              <ac:spMk id="4" creationId="{E75C56A9-21DE-BABC-8AC1-6C29D3644F43}"/>
            </ac:spMkLst>
          </pc:spChg>
          <pc:spChg chg="add del mod modVis">
            <ac:chgData name="Darius Kuddo" userId="da7555aa-d650-4d73-b00b-d01e713f1329" providerId="ADAL" clId="{9A4B509C-EEE7-485A-994E-5919214B754D}" dt="2025-02-20T01:03:50.655" v="976"/>
            <ac:spMkLst>
              <pc:docMk/>
              <pc:sldMasterMk cId="1593416392" sldId="2147483660"/>
              <pc:sldLayoutMk cId="2747287672" sldId="2147483661"/>
              <ac:spMk id="5" creationId="{6C46306B-30BF-BC84-0FD7-4EDBBC3FA10D}"/>
            </ac:spMkLst>
          </pc:spChg>
          <pc:spChg chg="add del mod modVis">
            <ac:chgData name="Darius Kuddo" userId="da7555aa-d650-4d73-b00b-d01e713f1329" providerId="ADAL" clId="{9A4B509C-EEE7-485A-994E-5919214B754D}" dt="2025-02-20T01:05:19.611" v="1047"/>
            <ac:spMkLst>
              <pc:docMk/>
              <pc:sldMasterMk cId="1593416392" sldId="2147483660"/>
              <pc:sldLayoutMk cId="2747287672" sldId="2147483661"/>
              <ac:spMk id="6" creationId="{A7C92196-1505-2EB3-BCE1-AFA1F3515546}"/>
            </ac:spMkLst>
          </pc:spChg>
          <pc:spChg chg="add del mod modVis">
            <ac:chgData name="Darius Kuddo" userId="da7555aa-d650-4d73-b00b-d01e713f1329" providerId="ADAL" clId="{9A4B509C-EEE7-485A-994E-5919214B754D}" dt="2025-02-20T01:07:00.292" v="1121"/>
            <ac:spMkLst>
              <pc:docMk/>
              <pc:sldMasterMk cId="1593416392" sldId="2147483660"/>
              <pc:sldLayoutMk cId="2747287672" sldId="2147483661"/>
              <ac:spMk id="7" creationId="{8417663B-0230-B949-BA37-11C62650CE32}"/>
            </ac:spMkLst>
          </pc:spChg>
          <pc:spChg chg="add del mod modVis">
            <ac:chgData name="Darius Kuddo" userId="da7555aa-d650-4d73-b00b-d01e713f1329" providerId="ADAL" clId="{9A4B509C-EEE7-485A-994E-5919214B754D}" dt="2025-02-20T01:16:10" v="1273"/>
            <ac:spMkLst>
              <pc:docMk/>
              <pc:sldMasterMk cId="1593416392" sldId="2147483660"/>
              <pc:sldLayoutMk cId="2747287672" sldId="2147483661"/>
              <ac:spMk id="8" creationId="{23555933-0352-A5BE-5229-A3BCA35212A1}"/>
            </ac:spMkLst>
          </pc:spChg>
          <pc:spChg chg="add del mod modVis">
            <ac:chgData name="Darius Kuddo" userId="da7555aa-d650-4d73-b00b-d01e713f1329" providerId="ADAL" clId="{9A4B509C-EEE7-485A-994E-5919214B754D}" dt="2025-02-20T01:26:02.134" v="1657"/>
            <ac:spMkLst>
              <pc:docMk/>
              <pc:sldMasterMk cId="1593416392" sldId="2147483660"/>
              <pc:sldLayoutMk cId="2747287672" sldId="2147483661"/>
              <ac:spMk id="9" creationId="{3E19039B-C3E7-90CE-899F-F4D245EFD5A6}"/>
            </ac:spMkLst>
          </pc:spChg>
          <pc:spChg chg="add del mod modVis">
            <ac:chgData name="Darius Kuddo" userId="da7555aa-d650-4d73-b00b-d01e713f1329" providerId="ADAL" clId="{9A4B509C-EEE7-485A-994E-5919214B754D}" dt="2025-02-20T01:36:57.460" v="1957"/>
            <ac:spMkLst>
              <pc:docMk/>
              <pc:sldMasterMk cId="1593416392" sldId="2147483660"/>
              <pc:sldLayoutMk cId="2747287672" sldId="2147483661"/>
              <ac:spMk id="10" creationId="{7A6138D4-6C2F-DD38-A760-C02EDD031F67}"/>
            </ac:spMkLst>
          </pc:spChg>
          <pc:spChg chg="add del mod modVis">
            <ac:chgData name="Darius Kuddo" userId="da7555aa-d650-4d73-b00b-d01e713f1329" providerId="ADAL" clId="{9A4B509C-EEE7-485A-994E-5919214B754D}" dt="2025-02-20T01:39:12.898" v="1972"/>
            <ac:spMkLst>
              <pc:docMk/>
              <pc:sldMasterMk cId="1593416392" sldId="2147483660"/>
              <pc:sldLayoutMk cId="2747287672" sldId="2147483661"/>
              <ac:spMk id="11" creationId="{1867FC7A-A1C9-81F6-BE11-9C18049E77B9}"/>
            </ac:spMkLst>
          </pc:spChg>
          <pc:spChg chg="add del mod modVis">
            <ac:chgData name="Darius Kuddo" userId="da7555aa-d650-4d73-b00b-d01e713f1329" providerId="ADAL" clId="{9A4B509C-EEE7-485A-994E-5919214B754D}" dt="2025-02-20T01:51:36.279" v="2192"/>
            <ac:spMkLst>
              <pc:docMk/>
              <pc:sldMasterMk cId="1593416392" sldId="2147483660"/>
              <pc:sldLayoutMk cId="2747287672" sldId="2147483661"/>
              <ac:spMk id="12" creationId="{D8E07652-3E29-E708-F997-B2A265F9FAFE}"/>
            </ac:spMkLst>
          </pc:spChg>
          <pc:spChg chg="add mod modVis">
            <ac:chgData name="Darius Kuddo" userId="da7555aa-d650-4d73-b00b-d01e713f1329" providerId="ADAL" clId="{9A4B509C-EEE7-485A-994E-5919214B754D}" dt="2025-02-20T01:51:36.284" v="2198"/>
            <ac:spMkLst>
              <pc:docMk/>
              <pc:sldMasterMk cId="1593416392" sldId="2147483660"/>
              <pc:sldLayoutMk cId="2747287672" sldId="2147483661"/>
              <ac:spMk id="13" creationId="{ECD7108E-FE05-7617-0178-41D2E3AB708C}"/>
            </ac:spMkLst>
          </pc:spChg>
        </pc:sldLayoutChg>
        <pc:sldLayoutChg chg="addSp delSp modSp mod">
          <pc:chgData name="Darius Kuddo" userId="da7555aa-d650-4d73-b00b-d01e713f1329" providerId="ADAL" clId="{9A4B509C-EEE7-485A-994E-5919214B754D}" dt="2025-02-20T01:13:24.983" v="1256"/>
          <pc:sldLayoutMkLst>
            <pc:docMk/>
            <pc:sldMasterMk cId="1593416392" sldId="2147483660"/>
            <pc:sldLayoutMk cId="1338230197" sldId="2147483662"/>
          </pc:sldLayoutMkLst>
          <pc:spChg chg="add mod modVis">
            <ac:chgData name="Darius Kuddo" userId="da7555aa-d650-4d73-b00b-d01e713f1329" providerId="ADAL" clId="{9A4B509C-EEE7-485A-994E-5919214B754D}" dt="2025-02-20T01:13:24.983" v="1256"/>
            <ac:spMkLst>
              <pc:docMk/>
              <pc:sldMasterMk cId="1593416392" sldId="2147483660"/>
              <pc:sldLayoutMk cId="1338230197" sldId="2147483662"/>
              <ac:spMk id="2" creationId="{CF1EE16B-FC68-E481-3640-5065114313B2}"/>
            </ac:spMkLst>
          </pc:spChg>
          <pc:spChg chg="del">
            <ac:chgData name="Darius Kuddo" userId="da7555aa-d650-4d73-b00b-d01e713f1329" providerId="ADAL" clId="{9A4B509C-EEE7-485A-994E-5919214B754D}" dt="2025-02-20T01:13:24.981" v="1249"/>
            <ac:spMkLst>
              <pc:docMk/>
              <pc:sldMasterMk cId="1593416392" sldId="2147483660"/>
              <pc:sldLayoutMk cId="1338230197" sldId="2147483662"/>
              <ac:spMk id="3" creationId="{68266148-E2BD-41EB-02AB-05D49AD8ABE7}"/>
            </ac:spMkLst>
          </pc:sp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ector</c:v>
                </c:pt>
              </c:strCache>
            </c:strRef>
          </c:tx>
          <c:spPr>
            <a:solidFill>
              <a:srgbClr val="008F5F"/>
            </a:solidFill>
          </c:spPr>
          <c:dPt>
            <c:idx val="0"/>
            <c:bubble3D val="0"/>
            <c:spPr>
              <a:solidFill>
                <a:srgbClr val="008F5F"/>
              </a:solidFill>
              <a:ln w="19050">
                <a:solidFill>
                  <a:schemeClr val="lt1"/>
                </a:solidFill>
              </a:ln>
              <a:effectLst/>
            </c:spPr>
            <c:extLst>
              <c:ext xmlns:c16="http://schemas.microsoft.com/office/drawing/2014/chart" uri="{C3380CC4-5D6E-409C-BE32-E72D297353CC}">
                <c16:uniqueId val="{00000001-7053-4EE5-8C45-4B8BCFEBD7FD}"/>
              </c:ext>
            </c:extLst>
          </c:dPt>
          <c:dPt>
            <c:idx val="1"/>
            <c:bubble3D val="0"/>
            <c:spPr>
              <a:solidFill>
                <a:srgbClr val="008F5F"/>
              </a:solidFill>
              <a:ln w="19050">
                <a:solidFill>
                  <a:schemeClr val="lt1"/>
                </a:solidFill>
              </a:ln>
              <a:effectLst/>
            </c:spPr>
            <c:extLst>
              <c:ext xmlns:c16="http://schemas.microsoft.com/office/drawing/2014/chart" uri="{C3380CC4-5D6E-409C-BE32-E72D297353CC}">
                <c16:uniqueId val="{00000003-7053-4EE5-8C45-4B8BCFEBD7FD}"/>
              </c:ext>
            </c:extLst>
          </c:dPt>
          <c:dPt>
            <c:idx val="2"/>
            <c:bubble3D val="0"/>
            <c:spPr>
              <a:solidFill>
                <a:srgbClr val="008F5F"/>
              </a:solidFill>
              <a:ln w="19050">
                <a:solidFill>
                  <a:schemeClr val="lt1"/>
                </a:solidFill>
              </a:ln>
              <a:effectLst/>
            </c:spPr>
            <c:extLst>
              <c:ext xmlns:c16="http://schemas.microsoft.com/office/drawing/2014/chart" uri="{C3380CC4-5D6E-409C-BE32-E72D297353CC}">
                <c16:uniqueId val="{00000005-7053-4EE5-8C45-4B8BCFEBD7FD}"/>
              </c:ext>
            </c:extLst>
          </c:dPt>
          <c:dPt>
            <c:idx val="3"/>
            <c:bubble3D val="0"/>
            <c:spPr>
              <a:solidFill>
                <a:srgbClr val="008F5F"/>
              </a:solidFill>
              <a:ln w="19050">
                <a:solidFill>
                  <a:schemeClr val="lt1"/>
                </a:solidFill>
              </a:ln>
              <a:effectLst/>
            </c:spPr>
            <c:extLst>
              <c:ext xmlns:c16="http://schemas.microsoft.com/office/drawing/2014/chart" uri="{C3380CC4-5D6E-409C-BE32-E72D297353CC}">
                <c16:uniqueId val="{00000007-7053-4EE5-8C45-4B8BCFEBD7FD}"/>
              </c:ext>
            </c:extLst>
          </c:dPt>
          <c:dPt>
            <c:idx val="4"/>
            <c:bubble3D val="0"/>
            <c:spPr>
              <a:solidFill>
                <a:srgbClr val="008F5F"/>
              </a:solidFill>
              <a:ln w="19050">
                <a:solidFill>
                  <a:schemeClr val="lt1"/>
                </a:solidFill>
              </a:ln>
              <a:effectLst/>
            </c:spPr>
            <c:extLst>
              <c:ext xmlns:c16="http://schemas.microsoft.com/office/drawing/2014/chart" uri="{C3380CC4-5D6E-409C-BE32-E72D297353CC}">
                <c16:uniqueId val="{00000009-7053-4EE5-8C45-4B8BCFEBD7FD}"/>
              </c:ext>
            </c:extLst>
          </c:dPt>
          <c:dPt>
            <c:idx val="5"/>
            <c:bubble3D val="0"/>
            <c:spPr>
              <a:solidFill>
                <a:srgbClr val="008F5F"/>
              </a:solidFill>
              <a:ln w="19050">
                <a:solidFill>
                  <a:schemeClr val="lt1"/>
                </a:solidFill>
              </a:ln>
              <a:effectLst/>
            </c:spPr>
            <c:extLst>
              <c:ext xmlns:c16="http://schemas.microsoft.com/office/drawing/2014/chart" uri="{C3380CC4-5D6E-409C-BE32-E72D297353CC}">
                <c16:uniqueId val="{0000000B-7053-4EE5-8C45-4B8BCFEBD7FD}"/>
              </c:ext>
            </c:extLst>
          </c:dPt>
          <c:dPt>
            <c:idx val="6"/>
            <c:bubble3D val="0"/>
            <c:spPr>
              <a:solidFill>
                <a:srgbClr val="008F5F"/>
              </a:solidFill>
              <a:ln w="19050">
                <a:solidFill>
                  <a:schemeClr val="lt1"/>
                </a:solidFill>
              </a:ln>
              <a:effectLst/>
            </c:spPr>
            <c:extLst>
              <c:ext xmlns:c16="http://schemas.microsoft.com/office/drawing/2014/chart" uri="{C3380CC4-5D6E-409C-BE32-E72D297353CC}">
                <c16:uniqueId val="{0000000D-7053-4EE5-8C45-4B8BCFEBD7FD}"/>
              </c:ext>
            </c:extLst>
          </c:dPt>
          <c:dPt>
            <c:idx val="7"/>
            <c:bubble3D val="0"/>
            <c:spPr>
              <a:solidFill>
                <a:srgbClr val="008F5F"/>
              </a:solidFill>
              <a:ln w="19050">
                <a:solidFill>
                  <a:schemeClr val="lt1"/>
                </a:solidFill>
              </a:ln>
              <a:effectLst/>
            </c:spPr>
            <c:extLst>
              <c:ext xmlns:c16="http://schemas.microsoft.com/office/drawing/2014/chart" uri="{C3380CC4-5D6E-409C-BE32-E72D297353CC}">
                <c16:uniqueId val="{0000000F-7053-4EE5-8C45-4B8BCFEBD7FD}"/>
              </c:ext>
            </c:extLst>
          </c:dPt>
          <c:dPt>
            <c:idx val="8"/>
            <c:bubble3D val="0"/>
            <c:spPr>
              <a:solidFill>
                <a:srgbClr val="008F5F"/>
              </a:solidFill>
              <a:ln w="19050">
                <a:solidFill>
                  <a:schemeClr val="lt1"/>
                </a:solidFill>
              </a:ln>
              <a:effectLst/>
            </c:spPr>
            <c:extLst>
              <c:ext xmlns:c16="http://schemas.microsoft.com/office/drawing/2014/chart" uri="{C3380CC4-5D6E-409C-BE32-E72D297353CC}">
                <c16:uniqueId val="{00000011-7053-4EE5-8C45-4B8BCFEBD7FD}"/>
              </c:ext>
            </c:extLst>
          </c:dPt>
          <c:dPt>
            <c:idx val="9"/>
            <c:bubble3D val="0"/>
            <c:spPr>
              <a:solidFill>
                <a:srgbClr val="008F5F"/>
              </a:solidFill>
              <a:ln w="19050">
                <a:solidFill>
                  <a:schemeClr val="lt1"/>
                </a:solidFill>
              </a:ln>
              <a:effectLst/>
            </c:spPr>
            <c:extLst>
              <c:ext xmlns:c16="http://schemas.microsoft.com/office/drawing/2014/chart" uri="{C3380CC4-5D6E-409C-BE32-E72D297353CC}">
                <c16:uniqueId val="{00000013-7053-4EE5-8C45-4B8BCFEBD7FD}"/>
              </c:ext>
            </c:extLst>
          </c:dPt>
          <c:dPt>
            <c:idx val="10"/>
            <c:bubble3D val="0"/>
            <c:spPr>
              <a:solidFill>
                <a:srgbClr val="008F5F"/>
              </a:solidFill>
              <a:ln w="19050">
                <a:solidFill>
                  <a:schemeClr val="lt1"/>
                </a:solidFill>
              </a:ln>
              <a:effectLst/>
            </c:spPr>
            <c:extLst>
              <c:ext xmlns:c16="http://schemas.microsoft.com/office/drawing/2014/chart" uri="{C3380CC4-5D6E-409C-BE32-E72D297353CC}">
                <c16:uniqueId val="{00000015-7053-4EE5-8C45-4B8BCFEBD7FD}"/>
              </c:ext>
            </c:extLst>
          </c:dPt>
          <c:dPt>
            <c:idx val="11"/>
            <c:bubble3D val="0"/>
            <c:spPr>
              <a:solidFill>
                <a:srgbClr val="008F5F"/>
              </a:solidFill>
              <a:ln w="19050">
                <a:solidFill>
                  <a:schemeClr val="lt1"/>
                </a:solidFill>
              </a:ln>
              <a:effectLst/>
            </c:spPr>
            <c:extLst>
              <c:ext xmlns:c16="http://schemas.microsoft.com/office/drawing/2014/chart" uri="{C3380CC4-5D6E-409C-BE32-E72D297353CC}">
                <c16:uniqueId val="{00000017-7053-4EE5-8C45-4B8BCFEBD7FD}"/>
              </c:ext>
            </c:extLst>
          </c:dPt>
          <c:dPt>
            <c:idx val="12"/>
            <c:bubble3D val="0"/>
            <c:spPr>
              <a:solidFill>
                <a:srgbClr val="008F5F"/>
              </a:solidFill>
              <a:ln w="19050">
                <a:solidFill>
                  <a:schemeClr val="lt1"/>
                </a:solidFill>
              </a:ln>
              <a:effectLst/>
            </c:spPr>
            <c:extLst>
              <c:ext xmlns:c16="http://schemas.microsoft.com/office/drawing/2014/chart" uri="{C3380CC4-5D6E-409C-BE32-E72D297353CC}">
                <c16:uniqueId val="{00000019-7053-4EE5-8C45-4B8BCFEBD7FD}"/>
              </c:ext>
            </c:extLst>
          </c:dPt>
          <c:dPt>
            <c:idx val="13"/>
            <c:bubble3D val="0"/>
            <c:spPr>
              <a:solidFill>
                <a:srgbClr val="008F5F"/>
              </a:solidFill>
              <a:ln w="19050">
                <a:solidFill>
                  <a:schemeClr val="lt1"/>
                </a:solidFill>
              </a:ln>
              <a:effectLst/>
            </c:spPr>
            <c:extLst>
              <c:ext xmlns:c16="http://schemas.microsoft.com/office/drawing/2014/chart" uri="{C3380CC4-5D6E-409C-BE32-E72D297353CC}">
                <c16:uniqueId val="{0000001B-7053-4EE5-8C45-4B8BCFEBD7FD}"/>
              </c:ext>
            </c:extLst>
          </c:dPt>
          <c:dPt>
            <c:idx val="14"/>
            <c:bubble3D val="0"/>
            <c:spPr>
              <a:solidFill>
                <a:srgbClr val="008F5F"/>
              </a:solidFill>
              <a:ln w="19050">
                <a:solidFill>
                  <a:schemeClr val="lt1"/>
                </a:solidFill>
              </a:ln>
              <a:effectLst/>
            </c:spPr>
            <c:extLst>
              <c:ext xmlns:c16="http://schemas.microsoft.com/office/drawing/2014/chart" uri="{C3380CC4-5D6E-409C-BE32-E72D297353CC}">
                <c16:uniqueId val="{0000001D-7053-4EE5-8C45-4B8BCFEBD7FD}"/>
              </c:ext>
            </c:extLst>
          </c:dPt>
          <c:dPt>
            <c:idx val="15"/>
            <c:bubble3D val="0"/>
            <c:spPr>
              <a:solidFill>
                <a:srgbClr val="008F5F"/>
              </a:solidFill>
              <a:ln w="19050">
                <a:solidFill>
                  <a:schemeClr val="lt1"/>
                </a:solidFill>
              </a:ln>
              <a:effectLst/>
            </c:spPr>
            <c:extLst>
              <c:ext xmlns:c16="http://schemas.microsoft.com/office/drawing/2014/chart" uri="{C3380CC4-5D6E-409C-BE32-E72D297353CC}">
                <c16:uniqueId val="{0000001F-7053-4EE5-8C45-4B8BCFEBD7FD}"/>
              </c:ext>
            </c:extLst>
          </c:dPt>
          <c:dPt>
            <c:idx val="16"/>
            <c:bubble3D val="0"/>
            <c:spPr>
              <a:solidFill>
                <a:srgbClr val="008F5F"/>
              </a:solidFill>
              <a:ln w="19050">
                <a:solidFill>
                  <a:schemeClr val="lt1"/>
                </a:solidFill>
              </a:ln>
              <a:effectLst/>
            </c:spPr>
            <c:extLst>
              <c:ext xmlns:c16="http://schemas.microsoft.com/office/drawing/2014/chart" uri="{C3380CC4-5D6E-409C-BE32-E72D297353CC}">
                <c16:uniqueId val="{00000021-7053-4EE5-8C45-4B8BCFEBD7FD}"/>
              </c:ext>
            </c:extLst>
          </c:dPt>
          <c:dPt>
            <c:idx val="17"/>
            <c:bubble3D val="0"/>
            <c:spPr>
              <a:solidFill>
                <a:srgbClr val="008F5F"/>
              </a:solidFill>
              <a:ln w="19050">
                <a:solidFill>
                  <a:schemeClr val="lt1"/>
                </a:solidFill>
              </a:ln>
              <a:effectLst/>
            </c:spPr>
            <c:extLst>
              <c:ext xmlns:c16="http://schemas.microsoft.com/office/drawing/2014/chart" uri="{C3380CC4-5D6E-409C-BE32-E72D297353CC}">
                <c16:uniqueId val="{00000023-7053-4EE5-8C45-4B8BCFEBD7FD}"/>
              </c:ext>
            </c:extLst>
          </c:dPt>
          <c:dPt>
            <c:idx val="18"/>
            <c:bubble3D val="0"/>
            <c:spPr>
              <a:solidFill>
                <a:srgbClr val="008F5F"/>
              </a:solidFill>
              <a:ln w="19050">
                <a:solidFill>
                  <a:schemeClr val="lt1"/>
                </a:solidFill>
              </a:ln>
              <a:effectLst/>
            </c:spPr>
            <c:extLst>
              <c:ext xmlns:c16="http://schemas.microsoft.com/office/drawing/2014/chart" uri="{C3380CC4-5D6E-409C-BE32-E72D297353CC}">
                <c16:uniqueId val="{00000025-7053-4EE5-8C45-4B8BCFEBD7FD}"/>
              </c:ext>
            </c:extLst>
          </c:dPt>
          <c:dPt>
            <c:idx val="19"/>
            <c:bubble3D val="0"/>
            <c:spPr>
              <a:solidFill>
                <a:srgbClr val="008F5F"/>
              </a:solidFill>
              <a:ln w="19050">
                <a:solidFill>
                  <a:schemeClr val="lt1"/>
                </a:solidFill>
              </a:ln>
              <a:effectLst/>
            </c:spPr>
            <c:extLst>
              <c:ext xmlns:c16="http://schemas.microsoft.com/office/drawing/2014/chart" uri="{C3380CC4-5D6E-409C-BE32-E72D297353CC}">
                <c16:uniqueId val="{00000027-7053-4EE5-8C45-4B8BCFEBD7FD}"/>
              </c:ext>
            </c:extLst>
          </c:dPt>
          <c:dLbls>
            <c:dLbl>
              <c:idx val="0"/>
              <c:tx>
                <c:rich>
                  <a:bodyPr rot="-48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670B2688-1780-4579-9045-2F6A400BEA9D}" type="CELLRANGE">
                      <a:rPr lang="en-US"/>
                      <a:pPr>
                        <a:defRPr sz="1100">
                          <a:solidFill>
                            <a:schemeClr val="bg1"/>
                          </a:solidFill>
                        </a:defRPr>
                      </a:pPr>
                      <a:t>[CELLRANGE]</a:t>
                    </a:fld>
                    <a:endParaRPr lang="en-US"/>
                  </a:p>
                </c:rich>
              </c:tx>
              <c:spPr>
                <a:noFill/>
                <a:ln>
                  <a:noFill/>
                </a:ln>
                <a:effectLst/>
              </c:spPr>
              <c:txPr>
                <a:bodyPr rot="-48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053-4EE5-8C45-4B8BCFEBD7FD}"/>
                </c:ext>
              </c:extLst>
            </c:dLbl>
            <c:dLbl>
              <c:idx val="1"/>
              <c:tx>
                <c:rich>
                  <a:bodyPr rot="-396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63D30C87-5B67-4BC5-BF49-45ED4E785AB2}" type="CELLRANGE">
                      <a:rPr lang="en-US" dirty="0"/>
                      <a:pPr>
                        <a:defRPr sz="1100">
                          <a:solidFill>
                            <a:schemeClr val="bg1"/>
                          </a:solidFill>
                        </a:defRPr>
                      </a:pPr>
                      <a:t>[CELLRANGE]</a:t>
                    </a:fld>
                    <a:endParaRPr lang="en-US"/>
                  </a:p>
                </c:rich>
              </c:tx>
              <c:spPr>
                <a:noFill/>
                <a:ln>
                  <a:noFill/>
                </a:ln>
                <a:effectLst/>
              </c:spPr>
              <c:txPr>
                <a:bodyPr rot="-396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2447529218891892"/>
                      <c:h val="0.15758934025459401"/>
                    </c:manualLayout>
                  </c15:layout>
                  <c15:dlblFieldTable/>
                  <c15:showDataLabelsRange val="1"/>
                </c:ext>
                <c:ext xmlns:c16="http://schemas.microsoft.com/office/drawing/2014/chart" uri="{C3380CC4-5D6E-409C-BE32-E72D297353CC}">
                  <c16:uniqueId val="{00000003-7053-4EE5-8C45-4B8BCFEBD7FD}"/>
                </c:ext>
              </c:extLst>
            </c:dLbl>
            <c:dLbl>
              <c:idx val="2"/>
              <c:tx>
                <c:rich>
                  <a:bodyPr rot="-27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77045A00-ABA5-49DE-B054-52C73E12CA9A}" type="CELLRANGE">
                      <a:rPr lang="en-US" dirty="0"/>
                      <a:pPr>
                        <a:defRPr sz="1100">
                          <a:solidFill>
                            <a:schemeClr val="bg1"/>
                          </a:solidFill>
                        </a:defRPr>
                      </a:pPr>
                      <a:t>[CELLRANGE]</a:t>
                    </a:fld>
                    <a:endParaRPr lang="en-US"/>
                  </a:p>
                </c:rich>
              </c:tx>
              <c:spPr>
                <a:noFill/>
                <a:ln>
                  <a:noFill/>
                </a:ln>
                <a:effectLst/>
              </c:spPr>
              <c:txPr>
                <a:bodyPr rot="-27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3042666859539481"/>
                      <c:h val="0.16890319499301118"/>
                    </c:manualLayout>
                  </c15:layout>
                  <c15:dlblFieldTable/>
                  <c15:showDataLabelsRange val="1"/>
                </c:ext>
                <c:ext xmlns:c16="http://schemas.microsoft.com/office/drawing/2014/chart" uri="{C3380CC4-5D6E-409C-BE32-E72D297353CC}">
                  <c16:uniqueId val="{00000005-7053-4EE5-8C45-4B8BCFEBD7FD}"/>
                </c:ext>
              </c:extLst>
            </c:dLbl>
            <c:dLbl>
              <c:idx val="3"/>
              <c:tx>
                <c:rich>
                  <a:bodyPr rot="-15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94DC07F2-501E-449C-8EBD-1770023FC8D8}" type="CELLRANGE">
                      <a:rPr lang="en-US"/>
                      <a:pPr>
                        <a:defRPr sz="1100">
                          <a:solidFill>
                            <a:schemeClr val="bg1"/>
                          </a:solidFill>
                        </a:defRPr>
                      </a:pPr>
                      <a:t>[CELLRANGE]</a:t>
                    </a:fld>
                    <a:endParaRPr lang="en-US"/>
                  </a:p>
                </c:rich>
              </c:tx>
              <c:spPr>
                <a:noFill/>
                <a:ln>
                  <a:noFill/>
                </a:ln>
                <a:effectLst/>
              </c:spPr>
              <c:txPr>
                <a:bodyPr rot="-15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7053-4EE5-8C45-4B8BCFEBD7FD}"/>
                </c:ext>
              </c:extLst>
            </c:dLbl>
            <c:dLbl>
              <c:idx val="4"/>
              <c:tx>
                <c:rich>
                  <a:bodyPr rot="-3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CC3B8A9B-AE2E-4449-B7B9-629369C6BAE6}" type="CELLRANGE">
                      <a:rPr lang="en-US"/>
                      <a:pPr>
                        <a:defRPr sz="1100">
                          <a:solidFill>
                            <a:schemeClr val="bg1"/>
                          </a:solidFill>
                        </a:defRPr>
                      </a:pPr>
                      <a:t>[CELLRANGE]</a:t>
                    </a:fld>
                    <a:endParaRPr lang="en-US"/>
                  </a:p>
                </c:rich>
              </c:tx>
              <c:spPr>
                <a:noFill/>
                <a:ln>
                  <a:noFill/>
                </a:ln>
                <a:effectLst/>
              </c:spPr>
              <c:txPr>
                <a:bodyPr rot="-3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7053-4EE5-8C45-4B8BCFEBD7FD}"/>
                </c:ext>
              </c:extLst>
            </c:dLbl>
            <c:dLbl>
              <c:idx val="5"/>
              <c:tx>
                <c:rich>
                  <a:bodyPr rot="36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C902203D-7BEF-405E-86EC-7A5ABFD4641D}" type="CELLRANGE">
                      <a:rPr lang="en-US"/>
                      <a:pPr>
                        <a:defRPr sz="1100">
                          <a:solidFill>
                            <a:schemeClr val="bg1"/>
                          </a:solidFill>
                        </a:defRPr>
                      </a:pPr>
                      <a:t>[CELLRANGE]</a:t>
                    </a:fld>
                    <a:endParaRPr lang="en-US"/>
                  </a:p>
                </c:rich>
              </c:tx>
              <c:spPr>
                <a:noFill/>
                <a:ln>
                  <a:noFill/>
                </a:ln>
                <a:effectLst/>
              </c:spPr>
              <c:txPr>
                <a:bodyPr rot="36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053-4EE5-8C45-4B8BCFEBD7FD}"/>
                </c:ext>
              </c:extLst>
            </c:dLbl>
            <c:dLbl>
              <c:idx val="6"/>
              <c:tx>
                <c:rich>
                  <a:bodyPr rot="15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62CB6C43-89EA-46B1-A8B7-6C130F3CB88C}" type="CELLRANGE">
                      <a:rPr lang="en-US"/>
                      <a:pPr>
                        <a:defRPr sz="1100">
                          <a:solidFill>
                            <a:schemeClr val="bg1"/>
                          </a:solidFill>
                        </a:defRPr>
                      </a:pPr>
                      <a:t>[CELLRANGE]</a:t>
                    </a:fld>
                    <a:endParaRPr lang="en-US"/>
                  </a:p>
                </c:rich>
              </c:tx>
              <c:spPr>
                <a:noFill/>
                <a:ln>
                  <a:noFill/>
                </a:ln>
                <a:effectLst/>
              </c:spPr>
              <c:txPr>
                <a:bodyPr rot="15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053-4EE5-8C45-4B8BCFEBD7FD}"/>
                </c:ext>
              </c:extLst>
            </c:dLbl>
            <c:dLbl>
              <c:idx val="7"/>
              <c:tx>
                <c:rich>
                  <a:bodyPr rot="27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E31B9664-019C-4DDC-8CE8-0A4AB40462CB}" type="CELLRANGE">
                      <a:rPr lang="en-US"/>
                      <a:pPr>
                        <a:defRPr sz="1100">
                          <a:solidFill>
                            <a:schemeClr val="bg1"/>
                          </a:solidFill>
                        </a:defRPr>
                      </a:pPr>
                      <a:t>[CELLRANGE]</a:t>
                    </a:fld>
                    <a:endParaRPr lang="en-US"/>
                  </a:p>
                </c:rich>
              </c:tx>
              <c:spPr>
                <a:noFill/>
                <a:ln>
                  <a:noFill/>
                </a:ln>
                <a:effectLst/>
              </c:spPr>
              <c:txPr>
                <a:bodyPr rot="27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053-4EE5-8C45-4B8BCFEBD7FD}"/>
                </c:ext>
              </c:extLst>
            </c:dLbl>
            <c:dLbl>
              <c:idx val="8"/>
              <c:tx>
                <c:rich>
                  <a:bodyPr rot="39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E506562A-C543-4EFE-A4D1-845791717B18}" type="CELLRANGE">
                      <a:rPr lang="en-US"/>
                      <a:pPr>
                        <a:defRPr sz="1100">
                          <a:solidFill>
                            <a:schemeClr val="bg1"/>
                          </a:solidFill>
                        </a:defRPr>
                      </a:pPr>
                      <a:t>[CELLRANGE]</a:t>
                    </a:fld>
                    <a:endParaRPr lang="en-US"/>
                  </a:p>
                </c:rich>
              </c:tx>
              <c:spPr>
                <a:noFill/>
                <a:ln>
                  <a:noFill/>
                </a:ln>
                <a:effectLst/>
              </c:spPr>
              <c:txPr>
                <a:bodyPr rot="39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053-4EE5-8C45-4B8BCFEBD7FD}"/>
                </c:ext>
              </c:extLst>
            </c:dLbl>
            <c:dLbl>
              <c:idx val="9"/>
              <c:tx>
                <c:rich>
                  <a:bodyPr rot="48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B9FC5734-3193-4485-B7A8-35AAAA064273}" type="CELLRANGE">
                      <a:rPr lang="en-US"/>
                      <a:pPr>
                        <a:defRPr sz="1100">
                          <a:solidFill>
                            <a:schemeClr val="bg1"/>
                          </a:solidFill>
                        </a:defRPr>
                      </a:pPr>
                      <a:t>[CELLRANGE]</a:t>
                    </a:fld>
                    <a:endParaRPr lang="en-US"/>
                  </a:p>
                </c:rich>
              </c:tx>
              <c:spPr>
                <a:noFill/>
                <a:ln>
                  <a:noFill/>
                </a:ln>
                <a:effectLst/>
              </c:spPr>
              <c:txPr>
                <a:bodyPr rot="48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053-4EE5-8C45-4B8BCFEBD7FD}"/>
                </c:ext>
              </c:extLst>
            </c:dLbl>
            <c:dLbl>
              <c:idx val="10"/>
              <c:tx>
                <c:rich>
                  <a:bodyPr rot="-48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63F286C1-FB17-4577-BA88-E3C6BD315668}" type="CELLRANGE">
                      <a:rPr lang="en-US"/>
                      <a:pPr>
                        <a:defRPr sz="1100">
                          <a:solidFill>
                            <a:schemeClr val="bg1"/>
                          </a:solidFill>
                        </a:defRPr>
                      </a:pPr>
                      <a:t>[CELLRANGE]</a:t>
                    </a:fld>
                    <a:endParaRPr lang="en-US"/>
                  </a:p>
                </c:rich>
              </c:tx>
              <c:spPr>
                <a:noFill/>
                <a:ln>
                  <a:noFill/>
                </a:ln>
                <a:effectLst/>
              </c:spPr>
              <c:txPr>
                <a:bodyPr rot="-48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053-4EE5-8C45-4B8BCFEBD7FD}"/>
                </c:ext>
              </c:extLst>
            </c:dLbl>
            <c:dLbl>
              <c:idx val="11"/>
              <c:tx>
                <c:rich>
                  <a:bodyPr rot="-39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3FCD5B53-7EBE-426B-A2E7-5985F03C6B77}" type="CELLRANGE">
                      <a:rPr lang="en-US"/>
                      <a:pPr>
                        <a:defRPr sz="1100">
                          <a:solidFill>
                            <a:schemeClr val="bg1"/>
                          </a:solidFill>
                        </a:defRPr>
                      </a:pPr>
                      <a:t>[CELLRANGE]</a:t>
                    </a:fld>
                    <a:endParaRPr lang="en-US"/>
                  </a:p>
                </c:rich>
              </c:tx>
              <c:spPr>
                <a:noFill/>
                <a:ln>
                  <a:noFill/>
                </a:ln>
                <a:effectLst/>
              </c:spPr>
              <c:txPr>
                <a:bodyPr rot="-39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053-4EE5-8C45-4B8BCFEBD7FD}"/>
                </c:ext>
              </c:extLst>
            </c:dLbl>
            <c:dLbl>
              <c:idx val="12"/>
              <c:tx>
                <c:rich>
                  <a:bodyPr rot="-27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B5C0FDBA-376E-4422-8778-4A0DCA9F80C4}" type="CELLRANGE">
                      <a:rPr lang="en-US"/>
                      <a:pPr>
                        <a:defRPr sz="1100">
                          <a:solidFill>
                            <a:schemeClr val="bg1"/>
                          </a:solidFill>
                        </a:defRPr>
                      </a:pPr>
                      <a:t>[CELLRANGE]</a:t>
                    </a:fld>
                    <a:endParaRPr lang="en-US"/>
                  </a:p>
                </c:rich>
              </c:tx>
              <c:spPr>
                <a:noFill/>
                <a:ln>
                  <a:noFill/>
                </a:ln>
                <a:effectLst/>
              </c:spPr>
              <c:txPr>
                <a:bodyPr rot="-27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7053-4EE5-8C45-4B8BCFEBD7FD}"/>
                </c:ext>
              </c:extLst>
            </c:dLbl>
            <c:dLbl>
              <c:idx val="13"/>
              <c:tx>
                <c:rich>
                  <a:bodyPr rot="-15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2C015BAF-5823-4197-8C11-DC71E3F55CA6}" type="CELLRANGE">
                      <a:rPr lang="en-US"/>
                      <a:pPr>
                        <a:defRPr sz="1100">
                          <a:solidFill>
                            <a:schemeClr val="bg1"/>
                          </a:solidFill>
                        </a:defRPr>
                      </a:pPr>
                      <a:t>[CELLRANGE]</a:t>
                    </a:fld>
                    <a:endParaRPr lang="en-US"/>
                  </a:p>
                </c:rich>
              </c:tx>
              <c:spPr>
                <a:noFill/>
                <a:ln>
                  <a:noFill/>
                </a:ln>
                <a:effectLst/>
              </c:spPr>
              <c:txPr>
                <a:bodyPr rot="-15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7053-4EE5-8C45-4B8BCFEBD7FD}"/>
                </c:ext>
              </c:extLst>
            </c:dLbl>
            <c:dLbl>
              <c:idx val="14"/>
              <c:tx>
                <c:rich>
                  <a:bodyPr rot="-3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F7470AB8-BA2E-4E75-AFB6-C3A5BE6A93F2}" type="CELLRANGE">
                      <a:rPr lang="en-US"/>
                      <a:pPr>
                        <a:defRPr sz="1100">
                          <a:solidFill>
                            <a:schemeClr val="bg1"/>
                          </a:solidFill>
                        </a:defRPr>
                      </a:pPr>
                      <a:t>[CELLRANGE]</a:t>
                    </a:fld>
                    <a:endParaRPr lang="en-US"/>
                  </a:p>
                </c:rich>
              </c:tx>
              <c:spPr>
                <a:noFill/>
                <a:ln>
                  <a:noFill/>
                </a:ln>
                <a:effectLst/>
              </c:spPr>
              <c:txPr>
                <a:bodyPr rot="-3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7053-4EE5-8C45-4B8BCFEBD7FD}"/>
                </c:ext>
              </c:extLst>
            </c:dLbl>
            <c:dLbl>
              <c:idx val="15"/>
              <c:tx>
                <c:rich>
                  <a:bodyPr rot="3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C0627101-FD10-4E9C-A005-F3D3C96F3886}" type="CELLRANGE">
                      <a:rPr lang="en-US"/>
                      <a:pPr>
                        <a:defRPr sz="1100">
                          <a:solidFill>
                            <a:schemeClr val="bg1"/>
                          </a:solidFill>
                        </a:defRPr>
                      </a:pPr>
                      <a:t>[CELLRANGE]</a:t>
                    </a:fld>
                    <a:endParaRPr lang="en-US"/>
                  </a:p>
                </c:rich>
              </c:tx>
              <c:spPr>
                <a:noFill/>
                <a:ln>
                  <a:noFill/>
                </a:ln>
                <a:effectLst/>
              </c:spPr>
              <c:txPr>
                <a:bodyPr rot="3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7053-4EE5-8C45-4B8BCFEBD7FD}"/>
                </c:ext>
              </c:extLst>
            </c:dLbl>
            <c:dLbl>
              <c:idx val="16"/>
              <c:tx>
                <c:rich>
                  <a:bodyPr rot="15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BC09308E-1062-45C5-969B-D8C5A365D792}" type="CELLRANGE">
                      <a:rPr lang="en-US"/>
                      <a:pPr>
                        <a:defRPr sz="1100">
                          <a:solidFill>
                            <a:schemeClr val="bg1"/>
                          </a:solidFill>
                        </a:defRPr>
                      </a:pPr>
                      <a:t>[CELLRANGE]</a:t>
                    </a:fld>
                    <a:endParaRPr lang="en-US"/>
                  </a:p>
                </c:rich>
              </c:tx>
              <c:spPr>
                <a:noFill/>
                <a:ln>
                  <a:noFill/>
                </a:ln>
                <a:effectLst/>
              </c:spPr>
              <c:txPr>
                <a:bodyPr rot="15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7053-4EE5-8C45-4B8BCFEBD7FD}"/>
                </c:ext>
              </c:extLst>
            </c:dLbl>
            <c:dLbl>
              <c:idx val="17"/>
              <c:tx>
                <c:rich>
                  <a:bodyPr rot="27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B1E72244-131D-4D36-9830-ACC89A5516C4}" type="CELLRANGE">
                      <a:rPr lang="en-US"/>
                      <a:pPr>
                        <a:defRPr sz="1100">
                          <a:solidFill>
                            <a:schemeClr val="bg1"/>
                          </a:solidFill>
                        </a:defRPr>
                      </a:pPr>
                      <a:t>[CELLRANGE]</a:t>
                    </a:fld>
                    <a:endParaRPr lang="en-US"/>
                  </a:p>
                </c:rich>
              </c:tx>
              <c:spPr>
                <a:noFill/>
                <a:ln>
                  <a:noFill/>
                </a:ln>
                <a:effectLst/>
              </c:spPr>
              <c:txPr>
                <a:bodyPr rot="27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7053-4EE5-8C45-4B8BCFEBD7FD}"/>
                </c:ext>
              </c:extLst>
            </c:dLbl>
            <c:dLbl>
              <c:idx val="18"/>
              <c:tx>
                <c:rich>
                  <a:bodyPr rot="39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FAB2F186-41B6-491D-BA49-095C80236663}" type="CELLRANGE">
                      <a:rPr lang="en-US"/>
                      <a:pPr>
                        <a:defRPr sz="1100">
                          <a:solidFill>
                            <a:schemeClr val="bg1"/>
                          </a:solidFill>
                        </a:defRPr>
                      </a:pPr>
                      <a:t>[CELLRANGE]</a:t>
                    </a:fld>
                    <a:endParaRPr lang="en-US"/>
                  </a:p>
                </c:rich>
              </c:tx>
              <c:spPr>
                <a:noFill/>
                <a:ln>
                  <a:noFill/>
                </a:ln>
                <a:effectLst/>
              </c:spPr>
              <c:txPr>
                <a:bodyPr rot="39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7053-4EE5-8C45-4B8BCFEBD7FD}"/>
                </c:ext>
              </c:extLst>
            </c:dLbl>
            <c:dLbl>
              <c:idx val="19"/>
              <c:tx>
                <c:rich>
                  <a:bodyPr rot="48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A7A7E7E4-457C-4D6D-9F82-3FB50B3245B3}" type="CELLRANGE">
                      <a:rPr lang="en-US"/>
                      <a:pPr>
                        <a:defRPr sz="1100">
                          <a:solidFill>
                            <a:schemeClr val="bg1"/>
                          </a:solidFill>
                        </a:defRPr>
                      </a:pPr>
                      <a:t>[CELLRANGE]</a:t>
                    </a:fld>
                    <a:endParaRPr lang="en-US"/>
                  </a:p>
                </c:rich>
              </c:tx>
              <c:spPr>
                <a:noFill/>
                <a:ln>
                  <a:noFill/>
                </a:ln>
                <a:effectLst/>
              </c:spPr>
              <c:txPr>
                <a:bodyPr rot="48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7053-4EE5-8C45-4B8BCFEBD7FD}"/>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Sheet1!$A$2:$A$21</c:f>
              <c:strCache>
                <c:ptCount val="20"/>
                <c:pt idx="0">
                  <c:v>Care 
Management</c:v>
                </c:pt>
                <c:pt idx="1">
                  <c:v>Clinical 
Analytics</c:v>
                </c:pt>
                <c:pt idx="2">
                  <c:v>Clinical 
Trials</c:v>
                </c:pt>
                <c:pt idx="3">
                  <c:v>Comms</c:v>
                </c:pt>
                <c:pt idx="4">
                  <c:v>Compliance</c:v>
                </c:pt>
                <c:pt idx="5">
                  <c:v>Diagnostics</c:v>
                </c:pt>
                <c:pt idx="6">
                  <c:v>Drug 
Discovery</c:v>
                </c:pt>
                <c:pt idx="7">
                  <c:v>Education &amp; 
Research</c:v>
                </c:pt>
                <c:pt idx="8">
                  <c:v>EMR</c:v>
                </c:pt>
                <c:pt idx="9">
                  <c:v>Financial &amp; 
RCM</c:v>
                </c:pt>
                <c:pt idx="10">
                  <c:v>HCM &amp; 
Logistics</c:v>
                </c:pt>
                <c:pt idx="11">
                  <c:v>Healthcare 
Navigation</c:v>
                </c:pt>
                <c:pt idx="12">
                  <c:v>Information</c:v>
                </c:pt>
                <c:pt idx="13">
                  <c:v>Infrastructure</c:v>
                </c:pt>
                <c:pt idx="14">
                  <c:v>Marketing</c:v>
                </c:pt>
                <c:pt idx="15">
                  <c:v>Medication 
Management</c:v>
                </c:pt>
                <c:pt idx="16">
                  <c:v>Patient 
Engagement</c:v>
                </c:pt>
                <c:pt idx="17">
                  <c:v>Tech-enabled 
Services</c:v>
                </c:pt>
                <c:pt idx="18">
                  <c:v>Telemedicine</c:v>
                </c:pt>
                <c:pt idx="19">
                  <c:v>Wellness</c:v>
                </c:pt>
              </c:strCache>
            </c:strRef>
          </c:cat>
          <c:val>
            <c:numRef>
              <c:f>Sheet1!$B$2:$B$21</c:f>
              <c:numCache>
                <c:formatCode>General</c:formatCode>
                <c:ptCount val="20"/>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numCache>
            </c:numRef>
          </c:val>
          <c:extLst>
            <c:ext xmlns:c15="http://schemas.microsoft.com/office/drawing/2012/chart" uri="{02D57815-91ED-43cb-92C2-25804820EDAC}">
              <c15:datalabelsRange>
                <c15:f>Sheet1!$A$2:$A$21</c15:f>
                <c15:dlblRangeCache>
                  <c:ptCount val="20"/>
                  <c:pt idx="0">
                    <c:v>Care 
Management</c:v>
                  </c:pt>
                  <c:pt idx="1">
                    <c:v>Clinical 
Analytics</c:v>
                  </c:pt>
                  <c:pt idx="2">
                    <c:v>Clinical 
Trials</c:v>
                  </c:pt>
                  <c:pt idx="3">
                    <c:v>Comms</c:v>
                  </c:pt>
                  <c:pt idx="4">
                    <c:v>Compliance</c:v>
                  </c:pt>
                  <c:pt idx="5">
                    <c:v>Diagnostics</c:v>
                  </c:pt>
                  <c:pt idx="6">
                    <c:v>Drug 
Discovery</c:v>
                  </c:pt>
                  <c:pt idx="7">
                    <c:v>Education &amp; 
Research</c:v>
                  </c:pt>
                  <c:pt idx="8">
                    <c:v>EMR</c:v>
                  </c:pt>
                  <c:pt idx="9">
                    <c:v>Financial &amp; 
RCM</c:v>
                  </c:pt>
                  <c:pt idx="10">
                    <c:v>HCM &amp; 
Logistics</c:v>
                  </c:pt>
                  <c:pt idx="11">
                    <c:v>Healthcare 
Navigation</c:v>
                  </c:pt>
                  <c:pt idx="12">
                    <c:v>Information</c:v>
                  </c:pt>
                  <c:pt idx="13">
                    <c:v>Infrastructure</c:v>
                  </c:pt>
                  <c:pt idx="14">
                    <c:v>Marketing</c:v>
                  </c:pt>
                  <c:pt idx="15">
                    <c:v>Medication 
Management</c:v>
                  </c:pt>
                  <c:pt idx="16">
                    <c:v>Patient 
Engagement</c:v>
                  </c:pt>
                  <c:pt idx="17">
                    <c:v>Tech-enabled 
Services</c:v>
                  </c:pt>
                  <c:pt idx="18">
                    <c:v>Telemedicine</c:v>
                  </c:pt>
                  <c:pt idx="19">
                    <c:v>Wellness</c:v>
                  </c:pt>
                </c15:dlblRangeCache>
              </c15:datalabelsRange>
            </c:ext>
            <c:ext xmlns:c16="http://schemas.microsoft.com/office/drawing/2014/chart" uri="{C3380CC4-5D6E-409C-BE32-E72D297353CC}">
              <c16:uniqueId val="{00000028-7053-4EE5-8C45-4B8BCFEBD7FD}"/>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End Market</c:v>
                </c:pt>
              </c:strCache>
            </c:strRef>
          </c:tx>
          <c:spPr>
            <a:solidFill>
              <a:srgbClr val="134A2C"/>
            </a:solidFill>
          </c:spPr>
          <c:dPt>
            <c:idx val="0"/>
            <c:bubble3D val="0"/>
            <c:spPr>
              <a:solidFill>
                <a:srgbClr val="134A2C"/>
              </a:solidFill>
              <a:ln w="19050">
                <a:solidFill>
                  <a:schemeClr val="lt1"/>
                </a:solidFill>
              </a:ln>
              <a:effectLst/>
            </c:spPr>
            <c:extLst>
              <c:ext xmlns:c16="http://schemas.microsoft.com/office/drawing/2014/chart" uri="{C3380CC4-5D6E-409C-BE32-E72D297353CC}">
                <c16:uniqueId val="{00000001-55AA-4E05-8B04-0C2D92C2E870}"/>
              </c:ext>
            </c:extLst>
          </c:dPt>
          <c:dPt>
            <c:idx val="1"/>
            <c:bubble3D val="0"/>
            <c:spPr>
              <a:solidFill>
                <a:srgbClr val="134A2C"/>
              </a:solidFill>
              <a:ln w="19050">
                <a:solidFill>
                  <a:schemeClr val="lt1"/>
                </a:solidFill>
              </a:ln>
              <a:effectLst/>
            </c:spPr>
            <c:extLst>
              <c:ext xmlns:c16="http://schemas.microsoft.com/office/drawing/2014/chart" uri="{C3380CC4-5D6E-409C-BE32-E72D297353CC}">
                <c16:uniqueId val="{00000003-55AA-4E05-8B04-0C2D92C2E870}"/>
              </c:ext>
            </c:extLst>
          </c:dPt>
          <c:dPt>
            <c:idx val="2"/>
            <c:bubble3D val="0"/>
            <c:spPr>
              <a:solidFill>
                <a:srgbClr val="134A2C"/>
              </a:solidFill>
              <a:ln w="19050">
                <a:solidFill>
                  <a:schemeClr val="lt1"/>
                </a:solidFill>
              </a:ln>
              <a:effectLst/>
            </c:spPr>
            <c:extLst>
              <c:ext xmlns:c16="http://schemas.microsoft.com/office/drawing/2014/chart" uri="{C3380CC4-5D6E-409C-BE32-E72D297353CC}">
                <c16:uniqueId val="{00000005-55AA-4E05-8B04-0C2D92C2E870}"/>
              </c:ext>
            </c:extLst>
          </c:dPt>
          <c:dPt>
            <c:idx val="3"/>
            <c:bubble3D val="0"/>
            <c:spPr>
              <a:solidFill>
                <a:srgbClr val="134A2C"/>
              </a:solidFill>
              <a:ln w="19050">
                <a:solidFill>
                  <a:schemeClr val="lt1"/>
                </a:solidFill>
              </a:ln>
              <a:effectLst/>
            </c:spPr>
            <c:extLst>
              <c:ext xmlns:c16="http://schemas.microsoft.com/office/drawing/2014/chart" uri="{C3380CC4-5D6E-409C-BE32-E72D297353CC}">
                <c16:uniqueId val="{00000007-55AA-4E05-8B04-0C2D92C2E870}"/>
              </c:ext>
            </c:extLst>
          </c:dPt>
          <c:dPt>
            <c:idx val="4"/>
            <c:bubble3D val="0"/>
            <c:spPr>
              <a:solidFill>
                <a:srgbClr val="134A2C"/>
              </a:solidFill>
              <a:ln w="19050">
                <a:solidFill>
                  <a:schemeClr val="lt1"/>
                </a:solidFill>
              </a:ln>
              <a:effectLst/>
            </c:spPr>
            <c:extLst>
              <c:ext xmlns:c16="http://schemas.microsoft.com/office/drawing/2014/chart" uri="{C3380CC4-5D6E-409C-BE32-E72D297353CC}">
                <c16:uniqueId val="{00000009-55AA-4E05-8B04-0C2D92C2E870}"/>
              </c:ext>
            </c:extLst>
          </c:dPt>
          <c:dPt>
            <c:idx val="5"/>
            <c:bubble3D val="0"/>
            <c:spPr>
              <a:solidFill>
                <a:srgbClr val="134A2C"/>
              </a:solidFill>
              <a:ln w="19050">
                <a:solidFill>
                  <a:schemeClr val="lt1"/>
                </a:solidFill>
              </a:ln>
              <a:effectLst/>
            </c:spPr>
            <c:extLst>
              <c:ext xmlns:c16="http://schemas.microsoft.com/office/drawing/2014/chart" uri="{C3380CC4-5D6E-409C-BE32-E72D297353CC}">
                <c16:uniqueId val="{0000000B-55AA-4E05-8B04-0C2D92C2E870}"/>
              </c:ext>
            </c:extLst>
          </c:dPt>
          <c:dPt>
            <c:idx val="6"/>
            <c:bubble3D val="0"/>
            <c:spPr>
              <a:solidFill>
                <a:srgbClr val="134A2C"/>
              </a:solidFill>
              <a:ln w="19050">
                <a:solidFill>
                  <a:schemeClr val="lt1"/>
                </a:solidFill>
              </a:ln>
              <a:effectLst/>
            </c:spPr>
            <c:extLst>
              <c:ext xmlns:c16="http://schemas.microsoft.com/office/drawing/2014/chart" uri="{C3380CC4-5D6E-409C-BE32-E72D297353CC}">
                <c16:uniqueId val="{0000000D-55AA-4E05-8B04-0C2D92C2E870}"/>
              </c:ext>
            </c:extLst>
          </c:dPt>
          <c:dPt>
            <c:idx val="7"/>
            <c:bubble3D val="0"/>
            <c:spPr>
              <a:solidFill>
                <a:srgbClr val="134A2C"/>
              </a:solidFill>
              <a:ln w="19050">
                <a:solidFill>
                  <a:schemeClr val="lt1"/>
                </a:solidFill>
              </a:ln>
              <a:effectLst/>
            </c:spPr>
            <c:extLst>
              <c:ext xmlns:c16="http://schemas.microsoft.com/office/drawing/2014/chart" uri="{C3380CC4-5D6E-409C-BE32-E72D297353CC}">
                <c16:uniqueId val="{0000000F-55AA-4E05-8B04-0C2D92C2E870}"/>
              </c:ext>
            </c:extLst>
          </c:dPt>
          <c:dLbls>
            <c:dLbl>
              <c:idx val="0"/>
              <c:tx>
                <c:rich>
                  <a:bodyPr rot="-39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5E2206E5-E9C4-4EB3-BDA3-D698BB46420A}" type="CELLRANGE">
                      <a:rPr lang="en-US"/>
                      <a:pPr>
                        <a:defRPr sz="1100">
                          <a:solidFill>
                            <a:schemeClr val="bg1"/>
                          </a:solidFill>
                        </a:defRPr>
                      </a:pPr>
                      <a:t>[CELLRANGE]</a:t>
                    </a:fld>
                    <a:endParaRPr lang="en-US"/>
                  </a:p>
                </c:rich>
              </c:tx>
              <c:spPr>
                <a:noFill/>
                <a:ln>
                  <a:noFill/>
                </a:ln>
                <a:effectLst/>
              </c:spPr>
              <c:txPr>
                <a:bodyPr rot="-39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5AA-4E05-8B04-0C2D92C2E870}"/>
                </c:ext>
              </c:extLst>
            </c:dLbl>
            <c:dLbl>
              <c:idx val="1"/>
              <c:tx>
                <c:rich>
                  <a:bodyPr rot="-12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99FBD0E8-846D-4E8F-AD3B-4DD1E5412514}" type="CELLRANGE">
                      <a:rPr lang="en-US" dirty="0"/>
                      <a:pPr>
                        <a:defRPr sz="1100">
                          <a:solidFill>
                            <a:schemeClr val="bg1"/>
                          </a:solidFill>
                        </a:defRPr>
                      </a:pPr>
                      <a:t>[CELLRANGE]</a:t>
                    </a:fld>
                    <a:endParaRPr lang="en-US"/>
                  </a:p>
                </c:rich>
              </c:tx>
              <c:spPr>
                <a:noFill/>
                <a:ln>
                  <a:noFill/>
                </a:ln>
                <a:effectLst/>
              </c:spPr>
              <c:txPr>
                <a:bodyPr rot="-12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2447529218891892"/>
                      <c:h val="0.15758934025459401"/>
                    </c:manualLayout>
                  </c15:layout>
                  <c15:dlblFieldTable/>
                  <c15:showDataLabelsRange val="1"/>
                </c:ext>
                <c:ext xmlns:c16="http://schemas.microsoft.com/office/drawing/2014/chart" uri="{C3380CC4-5D6E-409C-BE32-E72D297353CC}">
                  <c16:uniqueId val="{00000003-55AA-4E05-8B04-0C2D92C2E870}"/>
                </c:ext>
              </c:extLst>
            </c:dLbl>
            <c:dLbl>
              <c:idx val="2"/>
              <c:tx>
                <c:rich>
                  <a:bodyPr rot="15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5453FDD6-E281-44DB-8ABA-A71B7B433B57}" type="CELLRANGE">
                      <a:rPr lang="en-US" dirty="0"/>
                      <a:pPr>
                        <a:defRPr sz="1100">
                          <a:solidFill>
                            <a:schemeClr val="bg1"/>
                          </a:solidFill>
                        </a:defRPr>
                      </a:pPr>
                      <a:t>[CELLRANGE]</a:t>
                    </a:fld>
                    <a:endParaRPr lang="en-US"/>
                  </a:p>
                </c:rich>
              </c:tx>
              <c:spPr>
                <a:noFill/>
                <a:ln>
                  <a:noFill/>
                </a:ln>
                <a:effectLst/>
              </c:spPr>
              <c:txPr>
                <a:bodyPr rot="15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3042666859539481"/>
                      <c:h val="0.16890319499301118"/>
                    </c:manualLayout>
                  </c15:layout>
                  <c15:dlblFieldTable/>
                  <c15:showDataLabelsRange val="1"/>
                </c:ext>
                <c:ext xmlns:c16="http://schemas.microsoft.com/office/drawing/2014/chart" uri="{C3380CC4-5D6E-409C-BE32-E72D297353CC}">
                  <c16:uniqueId val="{00000005-55AA-4E05-8B04-0C2D92C2E870}"/>
                </c:ext>
              </c:extLst>
            </c:dLbl>
            <c:dLbl>
              <c:idx val="3"/>
              <c:tx>
                <c:rich>
                  <a:bodyPr rot="42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CFCF4E91-52CB-43E0-B6CB-4CC5855ECE95}" type="CELLRANGE">
                      <a:rPr lang="en-US"/>
                      <a:pPr>
                        <a:defRPr sz="1100">
                          <a:solidFill>
                            <a:schemeClr val="bg1"/>
                          </a:solidFill>
                        </a:defRPr>
                      </a:pPr>
                      <a:t>[CELLRANGE]</a:t>
                    </a:fld>
                    <a:endParaRPr lang="en-US"/>
                  </a:p>
                </c:rich>
              </c:tx>
              <c:spPr>
                <a:noFill/>
                <a:ln>
                  <a:noFill/>
                </a:ln>
                <a:effectLst/>
              </c:spPr>
              <c:txPr>
                <a:bodyPr rot="42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5AA-4E05-8B04-0C2D92C2E870}"/>
                </c:ext>
              </c:extLst>
            </c:dLbl>
            <c:dLbl>
              <c:idx val="4"/>
              <c:tx>
                <c:rich>
                  <a:bodyPr rot="-42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3378B126-2F8E-44F2-8819-E736D37C1CAE}" type="CELLRANGE">
                      <a:rPr lang="en-US"/>
                      <a:pPr>
                        <a:defRPr sz="1100">
                          <a:solidFill>
                            <a:schemeClr val="bg1"/>
                          </a:solidFill>
                        </a:defRPr>
                      </a:pPr>
                      <a:t>[CELLRANGE]</a:t>
                    </a:fld>
                    <a:endParaRPr lang="en-US"/>
                  </a:p>
                </c:rich>
              </c:tx>
              <c:spPr>
                <a:noFill/>
                <a:ln>
                  <a:noFill/>
                </a:ln>
                <a:effectLst/>
              </c:spPr>
              <c:txPr>
                <a:bodyPr rot="-42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5AA-4E05-8B04-0C2D92C2E870}"/>
                </c:ext>
              </c:extLst>
            </c:dLbl>
            <c:dLbl>
              <c:idx val="5"/>
              <c:tx>
                <c:rich>
                  <a:bodyPr rot="-15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AC57509B-95A7-471F-9928-16D3902E4C8B}" type="CELLRANGE">
                      <a:rPr lang="en-US"/>
                      <a:pPr>
                        <a:defRPr sz="1100">
                          <a:solidFill>
                            <a:schemeClr val="bg1"/>
                          </a:solidFill>
                        </a:defRPr>
                      </a:pPr>
                      <a:t>[CELLRANGE]</a:t>
                    </a:fld>
                    <a:endParaRPr lang="en-US"/>
                  </a:p>
                </c:rich>
              </c:tx>
              <c:spPr>
                <a:noFill/>
                <a:ln>
                  <a:noFill/>
                </a:ln>
                <a:effectLst/>
              </c:spPr>
              <c:txPr>
                <a:bodyPr rot="-15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5AA-4E05-8B04-0C2D92C2E870}"/>
                </c:ext>
              </c:extLst>
            </c:dLbl>
            <c:dLbl>
              <c:idx val="6"/>
              <c:tx>
                <c:rich>
                  <a:bodyPr rot="12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DAFD923D-E442-41C0-83C0-A0DAE8E6E53F}" type="CELLRANGE">
                      <a:rPr lang="en-US"/>
                      <a:pPr>
                        <a:defRPr sz="1100">
                          <a:solidFill>
                            <a:schemeClr val="bg1"/>
                          </a:solidFill>
                        </a:defRPr>
                      </a:pPr>
                      <a:t>[CELLRANGE]</a:t>
                    </a:fld>
                    <a:endParaRPr lang="en-US"/>
                  </a:p>
                </c:rich>
              </c:tx>
              <c:spPr>
                <a:noFill/>
                <a:ln>
                  <a:noFill/>
                </a:ln>
                <a:effectLst/>
              </c:spPr>
              <c:txPr>
                <a:bodyPr rot="12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5AA-4E05-8B04-0C2D92C2E870}"/>
                </c:ext>
              </c:extLst>
            </c:dLbl>
            <c:dLbl>
              <c:idx val="7"/>
              <c:tx>
                <c:rich>
                  <a:bodyPr rot="39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D3065022-9BBD-4600-86D4-9D7944145CB7}" type="CELLRANGE">
                      <a:rPr lang="en-US"/>
                      <a:pPr>
                        <a:defRPr sz="1100">
                          <a:solidFill>
                            <a:schemeClr val="bg1"/>
                          </a:solidFill>
                        </a:defRPr>
                      </a:pPr>
                      <a:t>[CELLRANGE]</a:t>
                    </a:fld>
                    <a:endParaRPr lang="en-US"/>
                  </a:p>
                </c:rich>
              </c:tx>
              <c:spPr>
                <a:noFill/>
                <a:ln>
                  <a:noFill/>
                </a:ln>
                <a:effectLst/>
              </c:spPr>
              <c:txPr>
                <a:bodyPr rot="3900000" spcFirstLastPara="1" vertOverflow="ellipsis"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5AA-4E05-8B04-0C2D92C2E87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Sheet1!$A$2:$A$9</c:f>
              <c:strCache>
                <c:ptCount val="8"/>
                <c:pt idx="0">
                  <c:v>Ambulatory</c:v>
                </c:pt>
                <c:pt idx="1">
                  <c:v>Consumers</c:v>
                </c:pt>
                <c:pt idx="2">
                  <c:v>Employers</c:v>
                </c:pt>
                <c:pt idx="3">
                  <c:v>Health
Systems</c:v>
                </c:pt>
                <c:pt idx="4">
                  <c:v>Life
Sciences</c:v>
                </c:pt>
                <c:pt idx="5">
                  <c:v>Payers</c:v>
                </c:pt>
                <c:pt idx="6">
                  <c:v>Pharmacy</c:v>
                </c:pt>
                <c:pt idx="7">
                  <c:v>Post-Acute</c:v>
                </c:pt>
              </c:strCache>
            </c:strRef>
          </c:cat>
          <c:val>
            <c:numRef>
              <c:f>Sheet1!$B$2:$B$9</c:f>
              <c:numCache>
                <c:formatCode>General</c:formatCode>
                <c:ptCount val="8"/>
                <c:pt idx="0">
                  <c:v>1</c:v>
                </c:pt>
                <c:pt idx="1">
                  <c:v>1</c:v>
                </c:pt>
                <c:pt idx="2">
                  <c:v>1</c:v>
                </c:pt>
                <c:pt idx="3">
                  <c:v>1</c:v>
                </c:pt>
                <c:pt idx="4">
                  <c:v>1</c:v>
                </c:pt>
                <c:pt idx="5">
                  <c:v>1</c:v>
                </c:pt>
                <c:pt idx="6">
                  <c:v>1</c:v>
                </c:pt>
                <c:pt idx="7">
                  <c:v>1</c:v>
                </c:pt>
              </c:numCache>
            </c:numRef>
          </c:val>
          <c:extLst>
            <c:ext xmlns:c15="http://schemas.microsoft.com/office/drawing/2012/chart" uri="{02D57815-91ED-43cb-92C2-25804820EDAC}">
              <c15:datalabelsRange>
                <c15:f>Sheet1!$A$2:$A$9</c15:f>
                <c15:dlblRangeCache>
                  <c:ptCount val="8"/>
                  <c:pt idx="0">
                    <c:v>Ambulatory</c:v>
                  </c:pt>
                  <c:pt idx="1">
                    <c:v>Consumers</c:v>
                  </c:pt>
                  <c:pt idx="2">
                    <c:v>Employers</c:v>
                  </c:pt>
                  <c:pt idx="3">
                    <c:v>Health
Systems</c:v>
                  </c:pt>
                  <c:pt idx="4">
                    <c:v>Life
Sciences</c:v>
                  </c:pt>
                  <c:pt idx="5">
                    <c:v>Payers</c:v>
                  </c:pt>
                  <c:pt idx="6">
                    <c:v>Pharmacy</c:v>
                  </c:pt>
                  <c:pt idx="7">
                    <c:v>Post-Acute</c:v>
                  </c:pt>
                </c15:dlblRangeCache>
              </c15:datalabelsRange>
            </c:ext>
            <c:ext xmlns:c16="http://schemas.microsoft.com/office/drawing/2014/chart" uri="{C3380CC4-5D6E-409C-BE32-E72D297353CC}">
              <c16:uniqueId val="{00000010-55AA-4E05-8B04-0C2D92C2E870}"/>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1D0BE3-66CB-4787-9DE4-7967F97D3BB3}" type="datetimeFigureOut">
              <a:rPr lang="en-US" smtClean="0"/>
              <a:t>11/21/2025</a:t>
            </a:fld>
            <a:endParaRPr lang="en-US" dirty="0"/>
          </a:p>
        </p:txBody>
      </p:sp>
      <p:sp>
        <p:nvSpPr>
          <p:cNvPr id="4" name="Slide Image Placeholder 3"/>
          <p:cNvSpPr>
            <a:spLocks noGrp="1" noRot="1" noChangeAspect="1"/>
          </p:cNvSpPr>
          <p:nvPr>
            <p:ph type="sldImg" idx="2"/>
          </p:nvPr>
        </p:nvSpPr>
        <p:spPr>
          <a:xfrm>
            <a:off x="2236788" y="1143000"/>
            <a:ext cx="2384425"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63E935-5DE2-4511-BE0C-1357FC22FCC0}" type="slidenum">
              <a:rPr lang="en-US" smtClean="0"/>
              <a:t>‹#›</a:t>
            </a:fld>
            <a:endParaRPr lang="en-US" dirty="0"/>
          </a:p>
        </p:txBody>
      </p:sp>
    </p:spTree>
    <p:extLst>
      <p:ext uri="{BB962C8B-B14F-4D97-AF65-F5344CB8AC3E}">
        <p14:creationId xmlns:p14="http://schemas.microsoft.com/office/powerpoint/2010/main" val="12922261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D63E935-5DE2-4511-BE0C-1357FC22FCC0}" type="slidenum">
              <a:rPr lang="en-US" smtClean="0"/>
              <a:t>2</a:t>
            </a:fld>
            <a:endParaRPr lang="en-US" dirty="0"/>
          </a:p>
        </p:txBody>
      </p:sp>
    </p:spTree>
    <p:extLst>
      <p:ext uri="{BB962C8B-B14F-4D97-AF65-F5344CB8AC3E}">
        <p14:creationId xmlns:p14="http://schemas.microsoft.com/office/powerpoint/2010/main" val="3537881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3A7B71-73F5-F736-FE24-8DFCEDE801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F3E88C-F952-38E7-ECCA-162E3DB0A5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C39080-927D-64A8-AC28-3068BFCE1E3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CC7020B-6F81-CC43-19FC-E2F6890BFA9A}"/>
              </a:ext>
            </a:extLst>
          </p:cNvPr>
          <p:cNvSpPr>
            <a:spLocks noGrp="1"/>
          </p:cNvSpPr>
          <p:nvPr>
            <p:ph type="sldNum" sz="quarter" idx="5"/>
          </p:nvPr>
        </p:nvSpPr>
        <p:spPr/>
        <p:txBody>
          <a:bodyPr/>
          <a:lstStyle/>
          <a:p>
            <a:fld id="{2D63E935-5DE2-4511-BE0C-1357FC22FCC0}" type="slidenum">
              <a:rPr lang="en-US" smtClean="0"/>
              <a:t>11</a:t>
            </a:fld>
            <a:endParaRPr lang="en-US" dirty="0"/>
          </a:p>
        </p:txBody>
      </p:sp>
    </p:spTree>
    <p:extLst>
      <p:ext uri="{BB962C8B-B14F-4D97-AF65-F5344CB8AC3E}">
        <p14:creationId xmlns:p14="http://schemas.microsoft.com/office/powerpoint/2010/main" val="4994830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A60A3-B253-D3FC-827A-D69C5CAC0E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428508-DBBD-5FA8-0231-36A4686236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BCF9DA-986C-974E-93E6-325C709CEE0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F4D22CD-1EA6-49DD-4B51-DE03CB818EB4}"/>
              </a:ext>
            </a:extLst>
          </p:cNvPr>
          <p:cNvSpPr>
            <a:spLocks noGrp="1"/>
          </p:cNvSpPr>
          <p:nvPr>
            <p:ph type="sldNum" sz="quarter" idx="5"/>
          </p:nvPr>
        </p:nvSpPr>
        <p:spPr/>
        <p:txBody>
          <a:bodyPr/>
          <a:lstStyle/>
          <a:p>
            <a:fld id="{2D63E935-5DE2-4511-BE0C-1357FC22FCC0}" type="slidenum">
              <a:rPr lang="en-US" smtClean="0"/>
              <a:t>12</a:t>
            </a:fld>
            <a:endParaRPr lang="en-US" dirty="0"/>
          </a:p>
        </p:txBody>
      </p:sp>
    </p:spTree>
    <p:extLst>
      <p:ext uri="{BB962C8B-B14F-4D97-AF65-F5344CB8AC3E}">
        <p14:creationId xmlns:p14="http://schemas.microsoft.com/office/powerpoint/2010/main" val="35464776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D4144-6507-E65B-9FB8-3BF7425058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7B276E-7C63-FA7E-7BE6-6408E1443E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89268B-4D36-9A32-B1BA-9407FBC77BE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010512B-A4DD-B339-7B14-C16F632B97E2}"/>
              </a:ext>
            </a:extLst>
          </p:cNvPr>
          <p:cNvSpPr>
            <a:spLocks noGrp="1"/>
          </p:cNvSpPr>
          <p:nvPr>
            <p:ph type="sldNum" sz="quarter" idx="5"/>
          </p:nvPr>
        </p:nvSpPr>
        <p:spPr/>
        <p:txBody>
          <a:bodyPr/>
          <a:lstStyle/>
          <a:p>
            <a:fld id="{2D63E935-5DE2-4511-BE0C-1357FC22FCC0}" type="slidenum">
              <a:rPr lang="en-US" smtClean="0"/>
              <a:t>13</a:t>
            </a:fld>
            <a:endParaRPr lang="en-US" dirty="0"/>
          </a:p>
        </p:txBody>
      </p:sp>
    </p:spTree>
    <p:extLst>
      <p:ext uri="{BB962C8B-B14F-4D97-AF65-F5344CB8AC3E}">
        <p14:creationId xmlns:p14="http://schemas.microsoft.com/office/powerpoint/2010/main" val="18625698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2FB6CB34-CA57-4C19-9A45-BEF4F02CEE0E}" type="slidenum">
              <a:rPr lang="en-US" smtClean="0"/>
              <a:pPr/>
              <a:t>14</a:t>
            </a:fld>
            <a:endParaRPr lang="en-US" dirty="0"/>
          </a:p>
        </p:txBody>
      </p:sp>
    </p:spTree>
    <p:extLst>
      <p:ext uri="{BB962C8B-B14F-4D97-AF65-F5344CB8AC3E}">
        <p14:creationId xmlns:p14="http://schemas.microsoft.com/office/powerpoint/2010/main" val="430087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81E3BB-2CB2-67C7-8280-413C5DAE72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7D2B33-88A8-C061-2BC4-F91BE42ED7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2A7CD7-8F95-7BBE-E4DC-DCD8ACDF4DF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9D30E51-EDD3-A374-E686-9D60D8A5830B}"/>
              </a:ext>
            </a:extLst>
          </p:cNvPr>
          <p:cNvSpPr>
            <a:spLocks noGrp="1"/>
          </p:cNvSpPr>
          <p:nvPr>
            <p:ph type="sldNum" sz="quarter" idx="5"/>
          </p:nvPr>
        </p:nvSpPr>
        <p:spPr/>
        <p:txBody>
          <a:bodyPr/>
          <a:lstStyle/>
          <a:p>
            <a:fld id="{2D63E935-5DE2-4511-BE0C-1357FC22FCC0}" type="slidenum">
              <a:rPr lang="en-US" smtClean="0"/>
              <a:t>3</a:t>
            </a:fld>
            <a:endParaRPr lang="en-US" dirty="0"/>
          </a:p>
        </p:txBody>
      </p:sp>
    </p:spTree>
    <p:extLst>
      <p:ext uri="{BB962C8B-B14F-4D97-AF65-F5344CB8AC3E}">
        <p14:creationId xmlns:p14="http://schemas.microsoft.com/office/powerpoint/2010/main" val="3920184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7848FB-3F26-E8BE-1561-B6D469F1DF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BE0F1E-8373-CF79-A4F5-533B27E870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EFEBEA-F1BC-994C-FCD0-AFD9ECDA2F5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67787C8-0C40-EDF4-6DAB-CC4F648269EF}"/>
              </a:ext>
            </a:extLst>
          </p:cNvPr>
          <p:cNvSpPr>
            <a:spLocks noGrp="1"/>
          </p:cNvSpPr>
          <p:nvPr>
            <p:ph type="sldNum" sz="quarter" idx="5"/>
          </p:nvPr>
        </p:nvSpPr>
        <p:spPr/>
        <p:txBody>
          <a:bodyPr/>
          <a:lstStyle/>
          <a:p>
            <a:fld id="{2D63E935-5DE2-4511-BE0C-1357FC22FCC0}" type="slidenum">
              <a:rPr lang="en-US" smtClean="0"/>
              <a:t>4</a:t>
            </a:fld>
            <a:endParaRPr lang="en-US" dirty="0"/>
          </a:p>
        </p:txBody>
      </p:sp>
    </p:spTree>
    <p:extLst>
      <p:ext uri="{BB962C8B-B14F-4D97-AF65-F5344CB8AC3E}">
        <p14:creationId xmlns:p14="http://schemas.microsoft.com/office/powerpoint/2010/main" val="1513451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10CDAD-2127-5037-FE06-B2AC758C65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5D2316-CBCC-C2A6-9E19-5A3D768CC2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EC56F4-54D6-0DF5-15F5-8E98643387F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B16869A-BBB5-7589-3A49-3655B05B3DBA}"/>
              </a:ext>
            </a:extLst>
          </p:cNvPr>
          <p:cNvSpPr>
            <a:spLocks noGrp="1"/>
          </p:cNvSpPr>
          <p:nvPr>
            <p:ph type="sldNum" sz="quarter" idx="5"/>
          </p:nvPr>
        </p:nvSpPr>
        <p:spPr/>
        <p:txBody>
          <a:bodyPr/>
          <a:lstStyle/>
          <a:p>
            <a:fld id="{2D63E935-5DE2-4511-BE0C-1357FC22FCC0}" type="slidenum">
              <a:rPr lang="en-US" smtClean="0"/>
              <a:t>5</a:t>
            </a:fld>
            <a:endParaRPr lang="en-US" dirty="0"/>
          </a:p>
        </p:txBody>
      </p:sp>
    </p:spTree>
    <p:extLst>
      <p:ext uri="{BB962C8B-B14F-4D97-AF65-F5344CB8AC3E}">
        <p14:creationId xmlns:p14="http://schemas.microsoft.com/office/powerpoint/2010/main" val="1304870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F2A8E5-0867-28AC-7EAD-A64109891A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7E1384-57AA-36EF-8BC5-D89A56152F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F7407E-68DB-1237-DD6E-05010A24285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FCDE669-37A2-BB7E-A942-241DF879A288}"/>
              </a:ext>
            </a:extLst>
          </p:cNvPr>
          <p:cNvSpPr>
            <a:spLocks noGrp="1"/>
          </p:cNvSpPr>
          <p:nvPr>
            <p:ph type="sldNum" sz="quarter" idx="5"/>
          </p:nvPr>
        </p:nvSpPr>
        <p:spPr/>
        <p:txBody>
          <a:bodyPr/>
          <a:lstStyle/>
          <a:p>
            <a:fld id="{2D63E935-5DE2-4511-BE0C-1357FC22FCC0}" type="slidenum">
              <a:rPr lang="en-US" smtClean="0"/>
              <a:t>6</a:t>
            </a:fld>
            <a:endParaRPr lang="en-US" dirty="0"/>
          </a:p>
        </p:txBody>
      </p:sp>
    </p:spTree>
    <p:extLst>
      <p:ext uri="{BB962C8B-B14F-4D97-AF65-F5344CB8AC3E}">
        <p14:creationId xmlns:p14="http://schemas.microsoft.com/office/powerpoint/2010/main" val="6065267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055142-98DC-E286-74FE-91B0CD2F14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6D08EA-6BF3-CA38-BF6A-24E15C5125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304F44-43E3-AD8B-F4C0-21761866202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7A78666-4750-AF14-2377-313BCD53A878}"/>
              </a:ext>
            </a:extLst>
          </p:cNvPr>
          <p:cNvSpPr>
            <a:spLocks noGrp="1"/>
          </p:cNvSpPr>
          <p:nvPr>
            <p:ph type="sldNum" sz="quarter" idx="5"/>
          </p:nvPr>
        </p:nvSpPr>
        <p:spPr/>
        <p:txBody>
          <a:bodyPr/>
          <a:lstStyle/>
          <a:p>
            <a:fld id="{2D63E935-5DE2-4511-BE0C-1357FC22FCC0}" type="slidenum">
              <a:rPr lang="en-US" smtClean="0"/>
              <a:t>7</a:t>
            </a:fld>
            <a:endParaRPr lang="en-US" dirty="0"/>
          </a:p>
        </p:txBody>
      </p:sp>
    </p:spTree>
    <p:extLst>
      <p:ext uri="{BB962C8B-B14F-4D97-AF65-F5344CB8AC3E}">
        <p14:creationId xmlns:p14="http://schemas.microsoft.com/office/powerpoint/2010/main" val="2564765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28C901-088E-E97A-0AF9-10B2A13A6E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1423BE-8F1B-4C8C-91DD-210D25DDBF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B010B5-E3B7-9A75-17E4-B1C577043B6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5F6D894-D27A-DEFF-E715-089118CDDADD}"/>
              </a:ext>
            </a:extLst>
          </p:cNvPr>
          <p:cNvSpPr>
            <a:spLocks noGrp="1"/>
          </p:cNvSpPr>
          <p:nvPr>
            <p:ph type="sldNum" sz="quarter" idx="5"/>
          </p:nvPr>
        </p:nvSpPr>
        <p:spPr/>
        <p:txBody>
          <a:bodyPr/>
          <a:lstStyle/>
          <a:p>
            <a:fld id="{2D63E935-5DE2-4511-BE0C-1357FC22FCC0}" type="slidenum">
              <a:rPr lang="en-US" smtClean="0"/>
              <a:t>8</a:t>
            </a:fld>
            <a:endParaRPr lang="en-US" dirty="0"/>
          </a:p>
        </p:txBody>
      </p:sp>
    </p:spTree>
    <p:extLst>
      <p:ext uri="{BB962C8B-B14F-4D97-AF65-F5344CB8AC3E}">
        <p14:creationId xmlns:p14="http://schemas.microsoft.com/office/powerpoint/2010/main" val="241601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341B26-85DA-0427-DB67-91A2F11396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36FACB-3244-0B29-D352-19FBD5498F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45173B-CE2B-F690-5B67-2F383E38B16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E80BE25-86FA-DE34-AB35-F40A7F010E12}"/>
              </a:ext>
            </a:extLst>
          </p:cNvPr>
          <p:cNvSpPr>
            <a:spLocks noGrp="1"/>
          </p:cNvSpPr>
          <p:nvPr>
            <p:ph type="sldNum" sz="quarter" idx="5"/>
          </p:nvPr>
        </p:nvSpPr>
        <p:spPr/>
        <p:txBody>
          <a:bodyPr/>
          <a:lstStyle/>
          <a:p>
            <a:fld id="{2D63E935-5DE2-4511-BE0C-1357FC22FCC0}" type="slidenum">
              <a:rPr lang="en-US" smtClean="0"/>
              <a:t>9</a:t>
            </a:fld>
            <a:endParaRPr lang="en-US" dirty="0"/>
          </a:p>
        </p:txBody>
      </p:sp>
    </p:spTree>
    <p:extLst>
      <p:ext uri="{BB962C8B-B14F-4D97-AF65-F5344CB8AC3E}">
        <p14:creationId xmlns:p14="http://schemas.microsoft.com/office/powerpoint/2010/main" val="3874038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D63E935-5DE2-4511-BE0C-1357FC22FCC0}" type="slidenum">
              <a:rPr lang="en-US" smtClean="0"/>
              <a:t>10</a:t>
            </a:fld>
            <a:endParaRPr lang="en-US" dirty="0"/>
          </a:p>
        </p:txBody>
      </p:sp>
    </p:spTree>
    <p:extLst>
      <p:ext uri="{BB962C8B-B14F-4D97-AF65-F5344CB8AC3E}">
        <p14:creationId xmlns:p14="http://schemas.microsoft.com/office/powerpoint/2010/main" val="19551080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E4824603-DF6C-6837-C994-38E8152EAA85}"/>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728767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8_Comparison">
    <p:bg>
      <p:bgRef idx="1001">
        <a:schemeClr val="bg1"/>
      </p:bgRef>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CF1EE16B-FC68-E481-3640-5065114313B2}"/>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6"/>
          <p:cNvSpPr>
            <a:spLocks noGrp="1"/>
          </p:cNvSpPr>
          <p:nvPr>
            <p:ph type="dt" sz="half" idx="10"/>
          </p:nvPr>
        </p:nvSpPr>
        <p:spPr>
          <a:xfrm>
            <a:off x="534353" y="9322650"/>
            <a:ext cx="1748790" cy="535516"/>
          </a:xfrm>
          <a:prstGeom prst="rect">
            <a:avLst/>
          </a:prstGeom>
        </p:spPr>
        <p:txBody>
          <a:bodyPr/>
          <a:lstStyle>
            <a:lvl1pPr>
              <a:defRPr>
                <a:latin typeface="FS Joey" panose="02000506040000020004" pitchFamily="50" charset="0"/>
              </a:defRPr>
            </a:lvl1pPr>
          </a:lstStyle>
          <a:p>
            <a:fld id="{E00CC565-7231-4178-AFAD-DEB354838539}" type="datetime1">
              <a:rPr lang="en-US" smtClean="0"/>
              <a:pPr/>
              <a:t>11/21/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5531ECA-5C51-4EA1-AFEC-B9278BBB855E}" type="slidenum">
              <a:rPr lang="en-US" smtClean="0"/>
              <a:t>‹#›</a:t>
            </a:fld>
            <a:endParaRPr lang="en-US" dirty="0"/>
          </a:p>
        </p:txBody>
      </p:sp>
    </p:spTree>
    <p:extLst>
      <p:ext uri="{BB962C8B-B14F-4D97-AF65-F5344CB8AC3E}">
        <p14:creationId xmlns:p14="http://schemas.microsoft.com/office/powerpoint/2010/main" val="133823019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4DA0164-56D7-4500-85B9-E175E1AC81D0}"/>
              </a:ext>
            </a:extLst>
          </p:cNvPr>
          <p:cNvSpPr/>
          <p:nvPr userDrawn="1"/>
        </p:nvSpPr>
        <p:spPr>
          <a:xfrm>
            <a:off x="-1323975" y="0"/>
            <a:ext cx="1208063" cy="342763"/>
          </a:xfrm>
          <a:prstGeom prst="rect">
            <a:avLst/>
          </a:prstGeom>
          <a:solidFill>
            <a:srgbClr val="2749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F64AEDC3-369D-4695-A990-242FBDC51F2F}"/>
              </a:ext>
            </a:extLst>
          </p:cNvPr>
          <p:cNvSpPr/>
          <p:nvPr userDrawn="1"/>
        </p:nvSpPr>
        <p:spPr>
          <a:xfrm>
            <a:off x="-1323975" y="404152"/>
            <a:ext cx="1208063" cy="342763"/>
          </a:xfrm>
          <a:prstGeom prst="rect">
            <a:avLst/>
          </a:prstGeom>
          <a:solidFill>
            <a:srgbClr val="668F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448E36E-E462-41C4-A9E2-774CD6CABBAD}"/>
              </a:ext>
            </a:extLst>
          </p:cNvPr>
          <p:cNvSpPr/>
          <p:nvPr userDrawn="1"/>
        </p:nvSpPr>
        <p:spPr>
          <a:xfrm>
            <a:off x="-1323975" y="808304"/>
            <a:ext cx="1208063" cy="342763"/>
          </a:xfrm>
          <a:prstGeom prst="rect">
            <a:avLst/>
          </a:prstGeom>
          <a:solidFill>
            <a:srgbClr val="607D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8637F39-AA62-4E73-9B1C-795446A3595D}"/>
              </a:ext>
            </a:extLst>
          </p:cNvPr>
          <p:cNvSpPr/>
          <p:nvPr userDrawn="1"/>
        </p:nvSpPr>
        <p:spPr>
          <a:xfrm>
            <a:off x="-1323975" y="1212456"/>
            <a:ext cx="1208063" cy="342763"/>
          </a:xfrm>
          <a:prstGeom prst="rect">
            <a:avLst/>
          </a:prstGeom>
          <a:solidFill>
            <a:srgbClr val="A9C4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3EC6CCA6-890C-45CE-840A-473FF0BF3B45}"/>
              </a:ext>
            </a:extLst>
          </p:cNvPr>
          <p:cNvSpPr/>
          <p:nvPr userDrawn="1"/>
        </p:nvSpPr>
        <p:spPr>
          <a:xfrm>
            <a:off x="-1323975" y="1616608"/>
            <a:ext cx="1208063" cy="342763"/>
          </a:xfrm>
          <a:prstGeom prst="rect">
            <a:avLst/>
          </a:prstGeom>
          <a:solidFill>
            <a:srgbClr val="008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6E4E2B3C-3A08-4DA3-A7A4-BB72741013C4}"/>
              </a:ext>
            </a:extLst>
          </p:cNvPr>
          <p:cNvSpPr/>
          <p:nvPr userDrawn="1"/>
        </p:nvSpPr>
        <p:spPr>
          <a:xfrm>
            <a:off x="-1323975" y="2020760"/>
            <a:ext cx="1208063" cy="342763"/>
          </a:xfrm>
          <a:prstGeom prst="rect">
            <a:avLst/>
          </a:prstGeom>
          <a:solidFill>
            <a:srgbClr val="B8D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21CA4725-E0DC-454C-BF39-5A7830ECE41F}"/>
              </a:ext>
            </a:extLst>
          </p:cNvPr>
          <p:cNvSpPr/>
          <p:nvPr userDrawn="1"/>
        </p:nvSpPr>
        <p:spPr>
          <a:xfrm>
            <a:off x="-1323975" y="2424912"/>
            <a:ext cx="1208063" cy="342763"/>
          </a:xfrm>
          <a:prstGeom prst="rect">
            <a:avLst/>
          </a:prstGeom>
          <a:solidFill>
            <a:srgbClr val="DEE4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5C454F7F-7482-43A0-833A-C543BF009B4F}"/>
              </a:ext>
            </a:extLst>
          </p:cNvPr>
          <p:cNvSpPr/>
          <p:nvPr userDrawn="1"/>
        </p:nvSpPr>
        <p:spPr>
          <a:xfrm>
            <a:off x="-1323975" y="2829062"/>
            <a:ext cx="1208063" cy="342763"/>
          </a:xfrm>
          <a:prstGeom prst="rect">
            <a:avLst/>
          </a:prstGeom>
          <a:solidFill>
            <a:srgbClr val="124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3416392"/>
      </p:ext>
    </p:extLst>
  </p:cSld>
  <p:clrMap bg1="lt1" tx1="dk1" bg2="lt2" tx2="dk2" accent1="accent1" accent2="accent2" accent3="accent3" accent4="accent4" accent5="accent5" accent6="accent6" hlink="hlink" folHlink="folHlink"/>
  <p:sldLayoutIdLst>
    <p:sldLayoutId id="2147483661" r:id="rId1"/>
    <p:sldLayoutId id="2147483662" r:id="rId2"/>
  </p:sldLayoutIdLst>
  <p:txStyles>
    <p:titleStyle>
      <a:lvl1pPr algn="l" defTabSz="777240" rtl="0" eaLnBrk="1" latinLnBrk="0" hangingPunct="1">
        <a:lnSpc>
          <a:spcPct val="90000"/>
        </a:lnSpc>
        <a:spcBef>
          <a:spcPct val="0"/>
        </a:spcBef>
        <a:buNone/>
        <a:defRPr sz="3740" kern="1200">
          <a:solidFill>
            <a:schemeClr val="tx1"/>
          </a:solidFill>
          <a:latin typeface="+mj-lt"/>
          <a:ea typeface="+mj-ea"/>
          <a:cs typeface="+mj-cs"/>
        </a:defRPr>
      </a:lvl1pPr>
    </p:titleStyle>
    <p:bodyStyle>
      <a:lvl1pPr marL="194310" indent="-194310" algn="l" defTabSz="777240" rtl="0" eaLnBrk="1" latinLnBrk="0" hangingPunct="1">
        <a:lnSpc>
          <a:spcPct val="90000"/>
        </a:lnSpc>
        <a:spcBef>
          <a:spcPts val="850"/>
        </a:spcBef>
        <a:buFont typeface="Arial" panose="020B0604020202020204" pitchFamily="34" charset="0"/>
        <a:buChar char="•"/>
        <a:defRPr sz="2380" kern="1200">
          <a:solidFill>
            <a:schemeClr val="tx1"/>
          </a:solidFill>
          <a:latin typeface="+mn-lt"/>
          <a:ea typeface="+mn-ea"/>
          <a:cs typeface="+mn-cs"/>
        </a:defRPr>
      </a:lvl1pPr>
      <a:lvl2pPr marL="582930" indent="-194310" algn="l" defTabSz="777240" rtl="0" eaLnBrk="1" latinLnBrk="0" hangingPunct="1">
        <a:lnSpc>
          <a:spcPct val="90000"/>
        </a:lnSpc>
        <a:spcBef>
          <a:spcPts val="425"/>
        </a:spcBef>
        <a:buFont typeface="Arial" panose="020B0604020202020204" pitchFamily="34" charset="0"/>
        <a:buChar char="•"/>
        <a:defRPr sz="2040" kern="1200">
          <a:solidFill>
            <a:schemeClr val="tx1"/>
          </a:solidFill>
          <a:latin typeface="+mn-lt"/>
          <a:ea typeface="+mn-ea"/>
          <a:cs typeface="+mn-cs"/>
        </a:defRPr>
      </a:lvl2pPr>
      <a:lvl3pPr marL="971550" indent="-194310" algn="l" defTabSz="777240" rtl="0" eaLnBrk="1" latinLnBrk="0" hangingPunct="1">
        <a:lnSpc>
          <a:spcPct val="90000"/>
        </a:lnSpc>
        <a:spcBef>
          <a:spcPts val="425"/>
        </a:spcBef>
        <a:buFont typeface="Arial" panose="020B0604020202020204" pitchFamily="34" charset="0"/>
        <a:buChar char="•"/>
        <a:defRPr sz="1700" kern="1200">
          <a:solidFill>
            <a:schemeClr val="tx1"/>
          </a:solidFill>
          <a:latin typeface="+mn-lt"/>
          <a:ea typeface="+mn-ea"/>
          <a:cs typeface="+mn-cs"/>
        </a:defRPr>
      </a:lvl3pPr>
      <a:lvl4pPr marL="13601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4pPr>
      <a:lvl5pPr marL="174879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p:bodyStyle>
    <p:otherStyle>
      <a:defPPr>
        <a:defRPr lang="en-US"/>
      </a:defPPr>
      <a:lvl1pPr marL="0" algn="l" defTabSz="777240" rtl="0" eaLnBrk="1" latinLnBrk="0" hangingPunct="1">
        <a:defRPr sz="1530" kern="1200">
          <a:solidFill>
            <a:schemeClr val="tx1"/>
          </a:solidFill>
          <a:latin typeface="+mn-lt"/>
          <a:ea typeface="+mn-ea"/>
          <a:cs typeface="+mn-cs"/>
        </a:defRPr>
      </a:lvl1pPr>
      <a:lvl2pPr marL="388620" algn="l" defTabSz="777240" rtl="0" eaLnBrk="1" latinLnBrk="0" hangingPunct="1">
        <a:defRPr sz="1530" kern="1200">
          <a:solidFill>
            <a:schemeClr val="tx1"/>
          </a:solidFill>
          <a:latin typeface="+mn-lt"/>
          <a:ea typeface="+mn-ea"/>
          <a:cs typeface="+mn-cs"/>
        </a:defRPr>
      </a:lvl2pPr>
      <a:lvl3pPr marL="777240" algn="l" defTabSz="777240" rtl="0" eaLnBrk="1" latinLnBrk="0" hangingPunct="1">
        <a:defRPr sz="1530" kern="1200">
          <a:solidFill>
            <a:schemeClr val="tx1"/>
          </a:solidFill>
          <a:latin typeface="+mn-lt"/>
          <a:ea typeface="+mn-ea"/>
          <a:cs typeface="+mn-cs"/>
        </a:defRPr>
      </a:lvl3pPr>
      <a:lvl4pPr marL="1165860" algn="l" defTabSz="777240" rtl="0" eaLnBrk="1" latinLnBrk="0" hangingPunct="1">
        <a:defRPr sz="1530" kern="1200">
          <a:solidFill>
            <a:schemeClr val="tx1"/>
          </a:solidFill>
          <a:latin typeface="+mn-lt"/>
          <a:ea typeface="+mn-ea"/>
          <a:cs typeface="+mn-cs"/>
        </a:defRPr>
      </a:lvl4pPr>
      <a:lvl5pPr marL="1554480" algn="l" defTabSz="777240" rtl="0" eaLnBrk="1" latinLnBrk="0" hangingPunct="1">
        <a:defRPr sz="1530" kern="1200">
          <a:solidFill>
            <a:schemeClr val="tx1"/>
          </a:solidFill>
          <a:latin typeface="+mn-lt"/>
          <a:ea typeface="+mn-ea"/>
          <a:cs typeface="+mn-cs"/>
        </a:defRPr>
      </a:lvl5pPr>
      <a:lvl6pPr marL="1943100" algn="l" defTabSz="777240" rtl="0" eaLnBrk="1" latinLnBrk="0" hangingPunct="1">
        <a:defRPr sz="1530" kern="1200">
          <a:solidFill>
            <a:schemeClr val="tx1"/>
          </a:solidFill>
          <a:latin typeface="+mn-lt"/>
          <a:ea typeface="+mn-ea"/>
          <a:cs typeface="+mn-cs"/>
        </a:defRPr>
      </a:lvl6pPr>
      <a:lvl7pPr marL="2331720" algn="l" defTabSz="777240" rtl="0" eaLnBrk="1" latinLnBrk="0" hangingPunct="1">
        <a:defRPr sz="1530" kern="1200">
          <a:solidFill>
            <a:schemeClr val="tx1"/>
          </a:solidFill>
          <a:latin typeface="+mn-lt"/>
          <a:ea typeface="+mn-ea"/>
          <a:cs typeface="+mn-cs"/>
        </a:defRPr>
      </a:lvl7pPr>
      <a:lvl8pPr marL="2720340" algn="l" defTabSz="777240" rtl="0" eaLnBrk="1" latinLnBrk="0" hangingPunct="1">
        <a:defRPr sz="1530" kern="1200">
          <a:solidFill>
            <a:schemeClr val="tx1"/>
          </a:solidFill>
          <a:latin typeface="+mn-lt"/>
          <a:ea typeface="+mn-ea"/>
          <a:cs typeface="+mn-cs"/>
        </a:defRPr>
      </a:lvl8pPr>
      <a:lvl9pPr marL="3108960" algn="l" defTabSz="777240" rtl="0" eaLnBrk="1" latinLnBrk="0" hangingPunct="1">
        <a:defRPr sz="153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music.amazon.com/podcasts/cda555ab-9ad1-4b56-b71b-c9125161e01c/crossroads-by-alantra" TargetMode="External"/><Relationship Id="rId13" Type="http://schemas.openxmlformats.org/officeDocument/2006/relationships/image" Target="../media/image7.png"/><Relationship Id="rId18" Type="http://schemas.openxmlformats.org/officeDocument/2006/relationships/image" Target="../media/image9.png"/><Relationship Id="rId3" Type="http://schemas.openxmlformats.org/officeDocument/2006/relationships/image" Target="../media/image2.png"/><Relationship Id="rId7" Type="http://schemas.openxmlformats.org/officeDocument/2006/relationships/image" Target="../media/image5.png"/><Relationship Id="rId12" Type="http://schemas.openxmlformats.org/officeDocument/2006/relationships/hyperlink" Target="https://www.linkedin.com/in/fr%C3%A9d%C3%A9ric-laurier-7891892/" TargetMode="External"/><Relationship Id="rId17" Type="http://schemas.openxmlformats.org/officeDocument/2006/relationships/hyperlink" Target="https://open.spotify.com/show/2c3J0M9dt3OsfHRLvaktTF" TargetMode="External"/><Relationship Id="rId2" Type="http://schemas.openxmlformats.org/officeDocument/2006/relationships/image" Target="../media/image1.jpg"/><Relationship Id="rId16" Type="http://schemas.openxmlformats.org/officeDocument/2006/relationships/hyperlink" Target="https://www.linkedin.com/in/ricky-zhu-610121195/" TargetMode="External"/><Relationship Id="rId20" Type="http://schemas.openxmlformats.org/officeDocument/2006/relationships/image" Target="../media/image11.png"/><Relationship Id="rId1" Type="http://schemas.openxmlformats.org/officeDocument/2006/relationships/slideLayout" Target="../slideLayouts/slideLayout1.xml"/><Relationship Id="rId6" Type="http://schemas.openxmlformats.org/officeDocument/2006/relationships/hyperlink" Target="https://podcasts.apple.com/us/podcast/feed/id1647894353?ls=1" TargetMode="External"/><Relationship Id="rId11" Type="http://schemas.openxmlformats.org/officeDocument/2006/relationships/hyperlink" Target="https://www.alantra.com/crossroads-by-alantra/" TargetMode="External"/><Relationship Id="rId5" Type="http://schemas.openxmlformats.org/officeDocument/2006/relationships/image" Target="../media/image4.svg"/><Relationship Id="rId15" Type="http://schemas.openxmlformats.org/officeDocument/2006/relationships/image" Target="../media/image8.png"/><Relationship Id="rId10" Type="http://schemas.openxmlformats.org/officeDocument/2006/relationships/image" Target="../media/image6.png"/><Relationship Id="rId19" Type="http://schemas.openxmlformats.org/officeDocument/2006/relationships/image" Target="../media/image10.png"/><Relationship Id="rId4" Type="http://schemas.openxmlformats.org/officeDocument/2006/relationships/image" Target="../media/image3.png"/><Relationship Id="rId9" Type="http://schemas.openxmlformats.org/officeDocument/2006/relationships/hyperlink" Target="https://www.alantra.com/" TargetMode="External"/><Relationship Id="rId14" Type="http://schemas.openxmlformats.org/officeDocument/2006/relationships/hyperlink" Target="https://www.linkedin.com/in/adler-elan/" TargetMode="Externa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12.png"/><Relationship Id="rId5" Type="http://schemas.openxmlformats.org/officeDocument/2006/relationships/chart" Target="../charts/chart2.xml"/><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13" Type="http://schemas.openxmlformats.org/officeDocument/2006/relationships/image" Target="../media/image23.jpeg"/><Relationship Id="rId18" Type="http://schemas.openxmlformats.org/officeDocument/2006/relationships/image" Target="../media/image28.png"/><Relationship Id="rId26" Type="http://schemas.openxmlformats.org/officeDocument/2006/relationships/image" Target="../media/image36.jpeg"/><Relationship Id="rId39" Type="http://schemas.openxmlformats.org/officeDocument/2006/relationships/image" Target="../media/image49.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jpeg"/><Relationship Id="rId55" Type="http://schemas.openxmlformats.org/officeDocument/2006/relationships/image" Target="../media/image65.png"/><Relationship Id="rId7" Type="http://schemas.openxmlformats.org/officeDocument/2006/relationships/image" Target="../media/image17.png"/><Relationship Id="rId2" Type="http://schemas.openxmlformats.org/officeDocument/2006/relationships/notesSlide" Target="../notesSlides/notesSlide10.xml"/><Relationship Id="rId16" Type="http://schemas.openxmlformats.org/officeDocument/2006/relationships/image" Target="../media/image26.png"/><Relationship Id="rId29" Type="http://schemas.openxmlformats.org/officeDocument/2006/relationships/image" Target="../media/image39.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8" Type="http://schemas.openxmlformats.org/officeDocument/2006/relationships/image" Target="../media/image68.jpeg"/><Relationship Id="rId5" Type="http://schemas.openxmlformats.org/officeDocument/2006/relationships/image" Target="../media/image15.png"/><Relationship Id="rId19"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jpe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56" Type="http://schemas.openxmlformats.org/officeDocument/2006/relationships/image" Target="../media/image66.png"/><Relationship Id="rId8" Type="http://schemas.openxmlformats.org/officeDocument/2006/relationships/image" Target="../media/image18.png"/><Relationship Id="rId51" Type="http://schemas.openxmlformats.org/officeDocument/2006/relationships/image" Target="../media/image61.jpeg"/><Relationship Id="rId3" Type="http://schemas.openxmlformats.org/officeDocument/2006/relationships/image" Target="../media/image13.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59" Type="http://schemas.openxmlformats.org/officeDocument/2006/relationships/image" Target="../media/image69.png"/><Relationship Id="rId20" Type="http://schemas.openxmlformats.org/officeDocument/2006/relationships/image" Target="../media/image30.png"/><Relationship Id="rId41" Type="http://schemas.openxmlformats.org/officeDocument/2006/relationships/image" Target="../media/image51.jpeg"/><Relationship Id="rId54" Type="http://schemas.openxmlformats.org/officeDocument/2006/relationships/image" Target="../media/image64.png"/><Relationship Id="rId1" Type="http://schemas.openxmlformats.org/officeDocument/2006/relationships/slideLayout" Target="../slideLayouts/slideLayout1.xml"/><Relationship Id="rId6" Type="http://schemas.openxmlformats.org/officeDocument/2006/relationships/image" Target="../media/image16.png"/><Relationship Id="rId15" Type="http://schemas.openxmlformats.org/officeDocument/2006/relationships/image" Target="../media/image25.jpe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jpeg"/><Relationship Id="rId57" Type="http://schemas.openxmlformats.org/officeDocument/2006/relationships/image" Target="../media/image67.png"/><Relationship Id="rId10" Type="http://schemas.openxmlformats.org/officeDocument/2006/relationships/image" Target="../media/image20.png"/><Relationship Id="rId31" Type="http://schemas.openxmlformats.org/officeDocument/2006/relationships/image" Target="../media/image41.jpeg"/><Relationship Id="rId44" Type="http://schemas.openxmlformats.org/officeDocument/2006/relationships/image" Target="../media/image54.png"/><Relationship Id="rId52" Type="http://schemas.openxmlformats.org/officeDocument/2006/relationships/image" Target="../media/image62.jpeg"/></Relationships>
</file>

<file path=ppt/slides/_rels/slide12.xml.rels><?xml version="1.0" encoding="UTF-8" standalone="yes"?>
<Relationships xmlns="http://schemas.openxmlformats.org/package/2006/relationships"><Relationship Id="rId13" Type="http://schemas.openxmlformats.org/officeDocument/2006/relationships/image" Target="../media/image79.gif"/><Relationship Id="rId18" Type="http://schemas.openxmlformats.org/officeDocument/2006/relationships/image" Target="../media/image84.png"/><Relationship Id="rId26" Type="http://schemas.openxmlformats.org/officeDocument/2006/relationships/image" Target="../media/image92.png"/><Relationship Id="rId39" Type="http://schemas.openxmlformats.org/officeDocument/2006/relationships/image" Target="../media/image103.png"/><Relationship Id="rId21" Type="http://schemas.openxmlformats.org/officeDocument/2006/relationships/image" Target="../media/image87.png"/><Relationship Id="rId34" Type="http://schemas.openxmlformats.org/officeDocument/2006/relationships/image" Target="../media/image100.png"/><Relationship Id="rId42" Type="http://schemas.openxmlformats.org/officeDocument/2006/relationships/image" Target="../media/image106.png"/><Relationship Id="rId47" Type="http://schemas.openxmlformats.org/officeDocument/2006/relationships/image" Target="../media/image111.png"/><Relationship Id="rId50" Type="http://schemas.openxmlformats.org/officeDocument/2006/relationships/image" Target="../media/image113.png"/><Relationship Id="rId7" Type="http://schemas.openxmlformats.org/officeDocument/2006/relationships/image" Target="../media/image73.png"/><Relationship Id="rId2" Type="http://schemas.openxmlformats.org/officeDocument/2006/relationships/notesSlide" Target="../notesSlides/notesSlide11.xml"/><Relationship Id="rId16" Type="http://schemas.openxmlformats.org/officeDocument/2006/relationships/image" Target="../media/image82.png"/><Relationship Id="rId29" Type="http://schemas.openxmlformats.org/officeDocument/2006/relationships/image" Target="../media/image95.png"/><Relationship Id="rId11" Type="http://schemas.openxmlformats.org/officeDocument/2006/relationships/image" Target="../media/image77.png"/><Relationship Id="rId24" Type="http://schemas.openxmlformats.org/officeDocument/2006/relationships/image" Target="../media/image90.png"/><Relationship Id="rId32" Type="http://schemas.openxmlformats.org/officeDocument/2006/relationships/image" Target="../media/image98.png"/><Relationship Id="rId37" Type="http://schemas.openxmlformats.org/officeDocument/2006/relationships/image" Target="../media/image28.png"/><Relationship Id="rId40" Type="http://schemas.openxmlformats.org/officeDocument/2006/relationships/image" Target="../media/image104.png"/><Relationship Id="rId45" Type="http://schemas.openxmlformats.org/officeDocument/2006/relationships/image" Target="../media/image109.png"/><Relationship Id="rId5" Type="http://schemas.openxmlformats.org/officeDocument/2006/relationships/image" Target="../media/image71.jpeg"/><Relationship Id="rId15" Type="http://schemas.openxmlformats.org/officeDocument/2006/relationships/image" Target="../media/image81.jpeg"/><Relationship Id="rId23" Type="http://schemas.openxmlformats.org/officeDocument/2006/relationships/image" Target="../media/image89.png"/><Relationship Id="rId28" Type="http://schemas.openxmlformats.org/officeDocument/2006/relationships/image" Target="../media/image94.png"/><Relationship Id="rId36" Type="http://schemas.openxmlformats.org/officeDocument/2006/relationships/image" Target="../media/image102.png"/><Relationship Id="rId49" Type="http://schemas.openxmlformats.org/officeDocument/2006/relationships/image" Target="../media/image25.jpeg"/><Relationship Id="rId10" Type="http://schemas.openxmlformats.org/officeDocument/2006/relationships/image" Target="../media/image76.png"/><Relationship Id="rId19" Type="http://schemas.openxmlformats.org/officeDocument/2006/relationships/image" Target="../media/image85.jpeg"/><Relationship Id="rId31" Type="http://schemas.openxmlformats.org/officeDocument/2006/relationships/image" Target="../media/image97.png"/><Relationship Id="rId44" Type="http://schemas.openxmlformats.org/officeDocument/2006/relationships/image" Target="../media/image108.png"/><Relationship Id="rId4" Type="http://schemas.openxmlformats.org/officeDocument/2006/relationships/image" Target="../media/image70.png"/><Relationship Id="rId9" Type="http://schemas.openxmlformats.org/officeDocument/2006/relationships/image" Target="../media/image75.jpeg"/><Relationship Id="rId14" Type="http://schemas.openxmlformats.org/officeDocument/2006/relationships/image" Target="../media/image80.jpeg"/><Relationship Id="rId22" Type="http://schemas.openxmlformats.org/officeDocument/2006/relationships/image" Target="../media/image88.png"/><Relationship Id="rId27" Type="http://schemas.openxmlformats.org/officeDocument/2006/relationships/image" Target="../media/image93.png"/><Relationship Id="rId30" Type="http://schemas.openxmlformats.org/officeDocument/2006/relationships/image" Target="../media/image96.jpeg"/><Relationship Id="rId35" Type="http://schemas.openxmlformats.org/officeDocument/2006/relationships/image" Target="../media/image101.png"/><Relationship Id="rId43" Type="http://schemas.openxmlformats.org/officeDocument/2006/relationships/image" Target="../media/image107.png"/><Relationship Id="rId48" Type="http://schemas.openxmlformats.org/officeDocument/2006/relationships/image" Target="../media/image112.png"/><Relationship Id="rId8" Type="http://schemas.openxmlformats.org/officeDocument/2006/relationships/image" Target="../media/image74.png"/><Relationship Id="rId51" Type="http://schemas.openxmlformats.org/officeDocument/2006/relationships/image" Target="../media/image114.jpeg"/><Relationship Id="rId3" Type="http://schemas.openxmlformats.org/officeDocument/2006/relationships/image" Target="../media/image16.png"/><Relationship Id="rId12" Type="http://schemas.openxmlformats.org/officeDocument/2006/relationships/image" Target="../media/image78.png"/><Relationship Id="rId17" Type="http://schemas.openxmlformats.org/officeDocument/2006/relationships/image" Target="../media/image83.png"/><Relationship Id="rId25" Type="http://schemas.openxmlformats.org/officeDocument/2006/relationships/image" Target="../media/image91.png"/><Relationship Id="rId33" Type="http://schemas.openxmlformats.org/officeDocument/2006/relationships/image" Target="../media/image99.png"/><Relationship Id="rId38" Type="http://schemas.openxmlformats.org/officeDocument/2006/relationships/image" Target="../media/image55.png"/><Relationship Id="rId46" Type="http://schemas.openxmlformats.org/officeDocument/2006/relationships/image" Target="../media/image110.png"/><Relationship Id="rId20" Type="http://schemas.openxmlformats.org/officeDocument/2006/relationships/image" Target="../media/image86.png"/><Relationship Id="rId41" Type="http://schemas.openxmlformats.org/officeDocument/2006/relationships/image" Target="../media/image105.png"/><Relationship Id="rId1" Type="http://schemas.openxmlformats.org/officeDocument/2006/relationships/slideLayout" Target="../slideLayouts/slideLayout1.xml"/><Relationship Id="rId6" Type="http://schemas.openxmlformats.org/officeDocument/2006/relationships/image" Target="../media/image72.png"/></Relationships>
</file>

<file path=ppt/slides/_rels/slide13.xml.rels><?xml version="1.0" encoding="UTF-8" standalone="yes"?>
<Relationships xmlns="http://schemas.openxmlformats.org/package/2006/relationships"><Relationship Id="rId8" Type="http://schemas.openxmlformats.org/officeDocument/2006/relationships/image" Target="../media/image120.jpeg"/><Relationship Id="rId13" Type="http://schemas.openxmlformats.org/officeDocument/2006/relationships/image" Target="../media/image125.jpeg"/><Relationship Id="rId18" Type="http://schemas.openxmlformats.org/officeDocument/2006/relationships/image" Target="../media/image130.jpeg"/><Relationship Id="rId3" Type="http://schemas.openxmlformats.org/officeDocument/2006/relationships/image" Target="../media/image115.png"/><Relationship Id="rId21" Type="http://schemas.openxmlformats.org/officeDocument/2006/relationships/image" Target="../media/image133.jpeg"/><Relationship Id="rId7" Type="http://schemas.openxmlformats.org/officeDocument/2006/relationships/image" Target="../media/image119.png"/><Relationship Id="rId12" Type="http://schemas.openxmlformats.org/officeDocument/2006/relationships/image" Target="../media/image124.png"/><Relationship Id="rId17" Type="http://schemas.openxmlformats.org/officeDocument/2006/relationships/image" Target="../media/image129.jpeg"/><Relationship Id="rId2" Type="http://schemas.openxmlformats.org/officeDocument/2006/relationships/notesSlide" Target="../notesSlides/notesSlide12.xml"/><Relationship Id="rId16" Type="http://schemas.openxmlformats.org/officeDocument/2006/relationships/image" Target="../media/image128.png"/><Relationship Id="rId20" Type="http://schemas.openxmlformats.org/officeDocument/2006/relationships/image" Target="../media/image132.png"/><Relationship Id="rId1" Type="http://schemas.openxmlformats.org/officeDocument/2006/relationships/slideLayout" Target="../slideLayouts/slideLayout1.xml"/><Relationship Id="rId6" Type="http://schemas.openxmlformats.org/officeDocument/2006/relationships/image" Target="../media/image118.png"/><Relationship Id="rId11" Type="http://schemas.openxmlformats.org/officeDocument/2006/relationships/image" Target="../media/image123.jpeg"/><Relationship Id="rId5" Type="http://schemas.openxmlformats.org/officeDocument/2006/relationships/image" Target="../media/image117.jpeg"/><Relationship Id="rId15" Type="http://schemas.openxmlformats.org/officeDocument/2006/relationships/image" Target="../media/image127.png"/><Relationship Id="rId23" Type="http://schemas.microsoft.com/office/2007/relationships/hdphoto" Target="../media/hdphoto1.wdp"/><Relationship Id="rId10" Type="http://schemas.openxmlformats.org/officeDocument/2006/relationships/image" Target="../media/image122.png"/><Relationship Id="rId19" Type="http://schemas.openxmlformats.org/officeDocument/2006/relationships/image" Target="../media/image131.png"/><Relationship Id="rId4" Type="http://schemas.openxmlformats.org/officeDocument/2006/relationships/image" Target="../media/image116.png"/><Relationship Id="rId9" Type="http://schemas.openxmlformats.org/officeDocument/2006/relationships/image" Target="../media/image121.jpeg"/><Relationship Id="rId14" Type="http://schemas.openxmlformats.org/officeDocument/2006/relationships/image" Target="../media/image126.jpeg"/><Relationship Id="rId22" Type="http://schemas.openxmlformats.org/officeDocument/2006/relationships/image" Target="../media/image134.png"/></Relationships>
</file>

<file path=ppt/slides/_rels/slide14.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36.emf"/></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ircle: Hollow 19">
            <a:extLst>
              <a:ext uri="{FF2B5EF4-FFF2-40B4-BE49-F238E27FC236}">
                <a16:creationId xmlns:a16="http://schemas.microsoft.com/office/drawing/2014/main" id="{81AA896C-9BEE-48E9-82F2-E0A5F0D96705}"/>
              </a:ext>
            </a:extLst>
          </p:cNvPr>
          <p:cNvSpPr/>
          <p:nvPr/>
        </p:nvSpPr>
        <p:spPr>
          <a:xfrm>
            <a:off x="3382440" y="5546072"/>
            <a:ext cx="8419465" cy="8419465"/>
          </a:xfrm>
          <a:prstGeom prst="donut">
            <a:avLst>
              <a:gd name="adj" fmla="val 14082"/>
            </a:avLst>
          </a:prstGeom>
          <a:solidFill>
            <a:srgbClr val="E5E9D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FS Joey" panose="02000506040000020004" pitchFamily="50" charset="0"/>
            </a:endParaRPr>
          </a:p>
        </p:txBody>
      </p:sp>
      <p:cxnSp>
        <p:nvCxnSpPr>
          <p:cNvPr id="15" name="Straight Connector 14">
            <a:extLst>
              <a:ext uri="{FF2B5EF4-FFF2-40B4-BE49-F238E27FC236}">
                <a16:creationId xmlns:a16="http://schemas.microsoft.com/office/drawing/2014/main" id="{77B8E80B-8F47-402A-A573-577D6148F8C9}"/>
              </a:ext>
            </a:extLst>
          </p:cNvPr>
          <p:cNvCxnSpPr>
            <a:cxnSpLocks/>
          </p:cNvCxnSpPr>
          <p:nvPr/>
        </p:nvCxnSpPr>
        <p:spPr>
          <a:xfrm>
            <a:off x="405547" y="790771"/>
            <a:ext cx="6961307" cy="0"/>
          </a:xfrm>
          <a:prstGeom prst="line">
            <a:avLst/>
          </a:prstGeom>
          <a:ln w="28575">
            <a:solidFill>
              <a:srgbClr val="B8D288"/>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B724653-938A-453D-B9F5-D65323319B70}"/>
              </a:ext>
            </a:extLst>
          </p:cNvPr>
          <p:cNvSpPr txBox="1"/>
          <p:nvPr/>
        </p:nvSpPr>
        <p:spPr>
          <a:xfrm flipH="1">
            <a:off x="5443389" y="541021"/>
            <a:ext cx="1854885" cy="184666"/>
          </a:xfrm>
          <a:prstGeom prst="rect">
            <a:avLst/>
          </a:prstGeom>
          <a:noFill/>
        </p:spPr>
        <p:txBody>
          <a:bodyPr wrap="square" lIns="0" tIns="0" rIns="0" bIns="0" rtlCol="0">
            <a:spAutoFit/>
          </a:bodyPr>
          <a:lstStyle/>
          <a:p>
            <a:pPr algn="r"/>
            <a:r>
              <a:rPr lang="en-US" sz="1200" dirty="0">
                <a:solidFill>
                  <a:schemeClr val="accent1"/>
                </a:solidFill>
                <a:latin typeface="FS Joey" panose="02000506040000020004" pitchFamily="50" charset="0"/>
              </a:rPr>
              <a:t>POSSIBILITY IS IN THE ASCENT</a:t>
            </a:r>
          </a:p>
        </p:txBody>
      </p:sp>
      <p:pic>
        <p:nvPicPr>
          <p:cNvPr id="17" name="Picture 16" descr="Shape, arrow&#10;&#10;Description automatically generated">
            <a:extLst>
              <a:ext uri="{FF2B5EF4-FFF2-40B4-BE49-F238E27FC236}">
                <a16:creationId xmlns:a16="http://schemas.microsoft.com/office/drawing/2014/main" id="{8AABFA61-852F-4F6E-AFB3-64A7B58A61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4126" y="483513"/>
            <a:ext cx="1240366" cy="205794"/>
          </a:xfrm>
          <a:prstGeom prst="rect">
            <a:avLst/>
          </a:prstGeom>
        </p:spPr>
      </p:pic>
      <p:sp>
        <p:nvSpPr>
          <p:cNvPr id="25" name="TextBox 24">
            <a:extLst>
              <a:ext uri="{FF2B5EF4-FFF2-40B4-BE49-F238E27FC236}">
                <a16:creationId xmlns:a16="http://schemas.microsoft.com/office/drawing/2014/main" id="{0B7CE281-E083-4DC2-AC45-BDDB90D46E34}"/>
              </a:ext>
            </a:extLst>
          </p:cNvPr>
          <p:cNvSpPr txBox="1"/>
          <p:nvPr/>
        </p:nvSpPr>
        <p:spPr>
          <a:xfrm flipH="1">
            <a:off x="397917" y="953899"/>
            <a:ext cx="6961307" cy="1400383"/>
          </a:xfrm>
          <a:prstGeom prst="rect">
            <a:avLst/>
          </a:prstGeom>
          <a:noFill/>
        </p:spPr>
        <p:txBody>
          <a:bodyPr wrap="square" rtlCol="0">
            <a:spAutoFit/>
          </a:bodyPr>
          <a:lstStyle/>
          <a:p>
            <a:pPr>
              <a:spcAft>
                <a:spcPts val="600"/>
              </a:spcAft>
            </a:pPr>
            <a:r>
              <a:rPr lang="en-US" sz="3000" dirty="0">
                <a:solidFill>
                  <a:schemeClr val="accent1"/>
                </a:solidFill>
                <a:latin typeface="FS Joey" panose="02000506040000020004" pitchFamily="50" charset="0"/>
              </a:rPr>
              <a:t>Reinserting Capitalism into Healthcare with Elan Adler, CEO of </a:t>
            </a:r>
            <a:r>
              <a:rPr lang="en-US" sz="3000" dirty="0" err="1">
                <a:solidFill>
                  <a:schemeClr val="accent1"/>
                </a:solidFill>
                <a:latin typeface="FS Joey" panose="02000506040000020004" pitchFamily="50" charset="0"/>
              </a:rPr>
              <a:t>OneImaging</a:t>
            </a:r>
            <a:endParaRPr lang="en-US" sz="3000" dirty="0">
              <a:solidFill>
                <a:schemeClr val="accent1"/>
              </a:solidFill>
              <a:latin typeface="FS Joey" panose="02000506040000020004" pitchFamily="50" charset="0"/>
            </a:endParaRPr>
          </a:p>
          <a:p>
            <a:pPr>
              <a:spcAft>
                <a:spcPts val="600"/>
              </a:spcAft>
            </a:pPr>
            <a:r>
              <a:rPr lang="en-US" sz="2000" dirty="0">
                <a:solidFill>
                  <a:srgbClr val="A9C47F"/>
                </a:solidFill>
                <a:latin typeface="FS Joey" panose="02000506040000020004" pitchFamily="50" charset="0"/>
              </a:rPr>
              <a:t>Podcast Episode Release – November 2025</a:t>
            </a:r>
            <a:endParaRPr lang="en-US" sz="2500" dirty="0">
              <a:solidFill>
                <a:schemeClr val="accent1"/>
              </a:solidFill>
              <a:latin typeface="FS Joey" panose="02000506040000020004" pitchFamily="50" charset="0"/>
            </a:endParaRPr>
          </a:p>
        </p:txBody>
      </p:sp>
      <p:sp>
        <p:nvSpPr>
          <p:cNvPr id="47" name="TextBox 46">
            <a:extLst>
              <a:ext uri="{FF2B5EF4-FFF2-40B4-BE49-F238E27FC236}">
                <a16:creationId xmlns:a16="http://schemas.microsoft.com/office/drawing/2014/main" id="{4B82FABE-CB1A-3EE9-2ED1-7E38FECC3599}"/>
              </a:ext>
            </a:extLst>
          </p:cNvPr>
          <p:cNvSpPr txBox="1"/>
          <p:nvPr/>
        </p:nvSpPr>
        <p:spPr>
          <a:xfrm>
            <a:off x="331105" y="5078665"/>
            <a:ext cx="7138032" cy="384721"/>
          </a:xfrm>
          <a:prstGeom prst="rect">
            <a:avLst/>
          </a:prstGeom>
          <a:noFill/>
        </p:spPr>
        <p:txBody>
          <a:bodyPr wrap="square" lIns="91440" numCol="2" spcCol="274320" rtlCol="0">
            <a:spAutoFit/>
          </a:bodyPr>
          <a:lstStyle/>
          <a:p>
            <a:pPr>
              <a:spcAft>
                <a:spcPts val="600"/>
              </a:spcAft>
            </a:pPr>
            <a:r>
              <a:rPr lang="en-US" sz="1400" b="1" dirty="0">
                <a:solidFill>
                  <a:schemeClr val="accent1"/>
                </a:solidFill>
              </a:rPr>
              <a:t>Episode Highlights</a:t>
            </a:r>
            <a:endParaRPr lang="en-US" sz="1200" b="1" dirty="0"/>
          </a:p>
        </p:txBody>
      </p:sp>
      <p:sp>
        <p:nvSpPr>
          <p:cNvPr id="2" name="Rectangle 1">
            <a:extLst>
              <a:ext uri="{FF2B5EF4-FFF2-40B4-BE49-F238E27FC236}">
                <a16:creationId xmlns:a16="http://schemas.microsoft.com/office/drawing/2014/main" id="{9C164F7F-9C8D-2AB2-4452-B14127DD2CBF}"/>
              </a:ext>
            </a:extLst>
          </p:cNvPr>
          <p:cNvSpPr/>
          <p:nvPr/>
        </p:nvSpPr>
        <p:spPr>
          <a:xfrm>
            <a:off x="331104" y="8559800"/>
            <a:ext cx="7111951" cy="1183305"/>
          </a:xfrm>
          <a:prstGeom prst="rect">
            <a:avLst/>
          </a:prstGeom>
          <a:solidFill>
            <a:schemeClr val="bg1"/>
          </a:solidFill>
          <a:ln>
            <a:noFill/>
          </a:ln>
          <a:effectLst>
            <a:outerShdw blurRad="1651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Rounded Corners 12">
            <a:extLst>
              <a:ext uri="{FF2B5EF4-FFF2-40B4-BE49-F238E27FC236}">
                <a16:creationId xmlns:a16="http://schemas.microsoft.com/office/drawing/2014/main" id="{706D0719-B7AA-9CB6-AF35-304FACEA4910}"/>
              </a:ext>
            </a:extLst>
          </p:cNvPr>
          <p:cNvSpPr/>
          <p:nvPr/>
        </p:nvSpPr>
        <p:spPr>
          <a:xfrm>
            <a:off x="3760215" y="8699248"/>
            <a:ext cx="3281006" cy="411480"/>
          </a:xfrm>
          <a:prstGeom prst="roundRect">
            <a:avLst>
              <a:gd name="adj" fmla="val 23179"/>
            </a:avLst>
          </a:prstGeom>
          <a:solidFill>
            <a:schemeClr val="bg1"/>
          </a:solidFill>
          <a:ln w="14605">
            <a:solidFill>
              <a:srgbClr val="9AA0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descr="Icon&#10;&#10;Description automatically generated">
            <a:extLst>
              <a:ext uri="{FF2B5EF4-FFF2-40B4-BE49-F238E27FC236}">
                <a16:creationId xmlns:a16="http://schemas.microsoft.com/office/drawing/2014/main" id="{02810CBE-4CDB-CE17-9A75-C3C117BDDF2A}"/>
              </a:ext>
            </a:extLst>
          </p:cNvPr>
          <p:cNvPicPr>
            <a:picLocks noChangeAspect="1"/>
          </p:cNvPicPr>
          <p:nvPr/>
        </p:nvPicPr>
        <p:blipFill rotWithShape="1">
          <a:blip r:embed="rId3">
            <a:extLst>
              <a:ext uri="{28A0092B-C50C-407E-A947-70E740481C1C}">
                <a14:useLocalDpi xmlns:a14="http://schemas.microsoft.com/office/drawing/2010/main" val="0"/>
              </a:ext>
            </a:extLst>
          </a:blip>
          <a:srcRect l="8764" t="16004" r="9068" b="15086"/>
          <a:stretch/>
        </p:blipFill>
        <p:spPr>
          <a:xfrm>
            <a:off x="4735894" y="8769823"/>
            <a:ext cx="1329649" cy="270331"/>
          </a:xfrm>
          <a:prstGeom prst="rect">
            <a:avLst/>
          </a:prstGeom>
        </p:spPr>
      </p:pic>
      <p:grpSp>
        <p:nvGrpSpPr>
          <p:cNvPr id="35" name="Group 34">
            <a:extLst>
              <a:ext uri="{FF2B5EF4-FFF2-40B4-BE49-F238E27FC236}">
                <a16:creationId xmlns:a16="http://schemas.microsoft.com/office/drawing/2014/main" id="{EC274AA7-BED9-96D4-4C2F-685AC4426719}"/>
              </a:ext>
            </a:extLst>
          </p:cNvPr>
          <p:cNvGrpSpPr>
            <a:grpSpLocks noChangeAspect="1"/>
          </p:cNvGrpSpPr>
          <p:nvPr/>
        </p:nvGrpSpPr>
        <p:grpSpPr>
          <a:xfrm>
            <a:off x="3770105" y="9192436"/>
            <a:ext cx="1615811" cy="410963"/>
            <a:chOff x="7726679" y="3012847"/>
            <a:chExt cx="3739015" cy="950976"/>
          </a:xfrm>
        </p:grpSpPr>
        <p:sp>
          <p:nvSpPr>
            <p:cNvPr id="38" name="Rectangle: Rounded Corners 37">
              <a:extLst>
                <a:ext uri="{FF2B5EF4-FFF2-40B4-BE49-F238E27FC236}">
                  <a16:creationId xmlns:a16="http://schemas.microsoft.com/office/drawing/2014/main" id="{5BEA036D-65BA-850D-B68A-3E80E5A3FCFE}"/>
                </a:ext>
              </a:extLst>
            </p:cNvPr>
            <p:cNvSpPr/>
            <p:nvPr/>
          </p:nvSpPr>
          <p:spPr>
            <a:xfrm>
              <a:off x="7726679" y="3012847"/>
              <a:ext cx="3739015" cy="950976"/>
            </a:xfrm>
            <a:prstGeom prst="roundRect">
              <a:avLst>
                <a:gd name="adj" fmla="val 23179"/>
              </a:avLst>
            </a:prstGeom>
            <a:solidFill>
              <a:schemeClr val="bg1"/>
            </a:solidFill>
            <a:ln w="14605">
              <a:solidFill>
                <a:srgbClr val="9AA0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0" name="Graphic 39">
              <a:extLst>
                <a:ext uri="{FF2B5EF4-FFF2-40B4-BE49-F238E27FC236}">
                  <a16:creationId xmlns:a16="http://schemas.microsoft.com/office/drawing/2014/main" id="{784F23A6-FDF9-D659-E6EE-C68EED65BDC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27163" y="3204015"/>
              <a:ext cx="3138047" cy="568640"/>
            </a:xfrm>
            <a:prstGeom prst="rect">
              <a:avLst/>
            </a:prstGeom>
          </p:spPr>
        </p:pic>
      </p:grpSp>
      <p:sp>
        <p:nvSpPr>
          <p:cNvPr id="36" name="Rectangle 35">
            <a:hlinkClick r:id="rId6"/>
            <a:extLst>
              <a:ext uri="{FF2B5EF4-FFF2-40B4-BE49-F238E27FC236}">
                <a16:creationId xmlns:a16="http://schemas.microsoft.com/office/drawing/2014/main" id="{62FB8768-4514-802C-D5CC-1948F8B6F815}"/>
              </a:ext>
            </a:extLst>
          </p:cNvPr>
          <p:cNvSpPr/>
          <p:nvPr/>
        </p:nvSpPr>
        <p:spPr>
          <a:xfrm>
            <a:off x="3770105" y="9192177"/>
            <a:ext cx="1615811" cy="41148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2" name="Group 41">
            <a:extLst>
              <a:ext uri="{FF2B5EF4-FFF2-40B4-BE49-F238E27FC236}">
                <a16:creationId xmlns:a16="http://schemas.microsoft.com/office/drawing/2014/main" id="{44FAFAD2-B622-93E8-3BFC-790142734ABD}"/>
              </a:ext>
            </a:extLst>
          </p:cNvPr>
          <p:cNvGrpSpPr>
            <a:grpSpLocks noChangeAspect="1"/>
          </p:cNvGrpSpPr>
          <p:nvPr/>
        </p:nvGrpSpPr>
        <p:grpSpPr>
          <a:xfrm>
            <a:off x="5425410" y="9187250"/>
            <a:ext cx="1615811" cy="410963"/>
            <a:chOff x="-5066686" y="6899090"/>
            <a:chExt cx="6628764" cy="1685950"/>
          </a:xfrm>
        </p:grpSpPr>
        <p:sp>
          <p:nvSpPr>
            <p:cNvPr id="45" name="Rectangle: Rounded Corners 44">
              <a:extLst>
                <a:ext uri="{FF2B5EF4-FFF2-40B4-BE49-F238E27FC236}">
                  <a16:creationId xmlns:a16="http://schemas.microsoft.com/office/drawing/2014/main" id="{48E741F2-68E5-25E1-5EB3-CAFC35BCFF47}"/>
                </a:ext>
              </a:extLst>
            </p:cNvPr>
            <p:cNvSpPr/>
            <p:nvPr/>
          </p:nvSpPr>
          <p:spPr>
            <a:xfrm>
              <a:off x="-5066686" y="6899090"/>
              <a:ext cx="6628764" cy="1685950"/>
            </a:xfrm>
            <a:prstGeom prst="roundRect">
              <a:avLst>
                <a:gd name="adj" fmla="val 23179"/>
              </a:avLst>
            </a:prstGeom>
            <a:solidFill>
              <a:schemeClr val="bg1"/>
            </a:solidFill>
            <a:ln w="14605">
              <a:solidFill>
                <a:srgbClr val="9AA0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9" name="Picture 48">
              <a:extLst>
                <a:ext uri="{FF2B5EF4-FFF2-40B4-BE49-F238E27FC236}">
                  <a16:creationId xmlns:a16="http://schemas.microsoft.com/office/drawing/2014/main" id="{77E0616B-5E93-43A1-BD32-B41023ADEFEC}"/>
                </a:ext>
              </a:extLst>
            </p:cNvPr>
            <p:cNvPicPr>
              <a:picLocks noChangeAspect="1"/>
            </p:cNvPicPr>
            <p:nvPr/>
          </p:nvPicPr>
          <p:blipFill>
            <a:blip r:embed="rId7"/>
            <a:stretch>
              <a:fillRect/>
            </a:stretch>
          </p:blipFill>
          <p:spPr>
            <a:xfrm>
              <a:off x="-3911269" y="7115269"/>
              <a:ext cx="4317932" cy="1253592"/>
            </a:xfrm>
            <a:prstGeom prst="rect">
              <a:avLst/>
            </a:prstGeom>
          </p:spPr>
        </p:pic>
      </p:grpSp>
      <p:sp>
        <p:nvSpPr>
          <p:cNvPr id="43" name="Rectangle 42">
            <a:hlinkClick r:id="rId8"/>
            <a:extLst>
              <a:ext uri="{FF2B5EF4-FFF2-40B4-BE49-F238E27FC236}">
                <a16:creationId xmlns:a16="http://schemas.microsoft.com/office/drawing/2014/main" id="{A27F3565-B84E-2305-ECB0-28EC935D656B}"/>
              </a:ext>
            </a:extLst>
          </p:cNvPr>
          <p:cNvSpPr/>
          <p:nvPr/>
        </p:nvSpPr>
        <p:spPr>
          <a:xfrm>
            <a:off x="5425410" y="9186991"/>
            <a:ext cx="1615811" cy="41148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Picture 8">
            <a:hlinkClick r:id="rId9"/>
            <a:extLst>
              <a:ext uri="{FF2B5EF4-FFF2-40B4-BE49-F238E27FC236}">
                <a16:creationId xmlns:a16="http://schemas.microsoft.com/office/drawing/2014/main" id="{8E3A90CA-DAE6-DA77-E5FB-94D01C091FE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32212" b="32634"/>
          <a:stretch/>
        </p:blipFill>
        <p:spPr bwMode="auto">
          <a:xfrm>
            <a:off x="1274903" y="8858645"/>
            <a:ext cx="1408023" cy="27497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6550E23B-5270-229E-D4AA-B282F4018B59}"/>
              </a:ext>
            </a:extLst>
          </p:cNvPr>
          <p:cNvSpPr txBox="1"/>
          <p:nvPr/>
        </p:nvSpPr>
        <p:spPr>
          <a:xfrm>
            <a:off x="669173" y="9216602"/>
            <a:ext cx="2619483" cy="276999"/>
          </a:xfrm>
          <a:prstGeom prst="rect">
            <a:avLst/>
          </a:prstGeom>
          <a:noFill/>
        </p:spPr>
        <p:txBody>
          <a:bodyPr wrap="square">
            <a:spAutoFit/>
          </a:bodyPr>
          <a:lstStyle/>
          <a:p>
            <a:pPr algn="ctr"/>
            <a:r>
              <a:rPr lang="en-US" sz="1200" dirty="0"/>
              <a:t>www.alantra.com/crossroads-by-alantra/</a:t>
            </a:r>
          </a:p>
        </p:txBody>
      </p:sp>
      <p:sp>
        <p:nvSpPr>
          <p:cNvPr id="56" name="Rectangle 55">
            <a:hlinkClick r:id="rId11"/>
            <a:extLst>
              <a:ext uri="{FF2B5EF4-FFF2-40B4-BE49-F238E27FC236}">
                <a16:creationId xmlns:a16="http://schemas.microsoft.com/office/drawing/2014/main" id="{8D356019-1F5B-5F21-30A2-DEA9666EF7A1}"/>
              </a:ext>
            </a:extLst>
          </p:cNvPr>
          <p:cNvSpPr/>
          <p:nvPr/>
        </p:nvSpPr>
        <p:spPr>
          <a:xfrm>
            <a:off x="669173" y="8769363"/>
            <a:ext cx="2618564" cy="783299"/>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9055C8FD-77F9-3D8F-267F-A1E9169E322C}"/>
              </a:ext>
            </a:extLst>
          </p:cNvPr>
          <p:cNvSpPr txBox="1"/>
          <p:nvPr/>
        </p:nvSpPr>
        <p:spPr>
          <a:xfrm>
            <a:off x="2653550" y="4030097"/>
            <a:ext cx="2465300" cy="507831"/>
          </a:xfrm>
          <a:prstGeom prst="rect">
            <a:avLst/>
          </a:prstGeom>
          <a:noFill/>
        </p:spPr>
        <p:txBody>
          <a:bodyPr wrap="square" rtlCol="0">
            <a:spAutoFit/>
          </a:bodyPr>
          <a:lstStyle/>
          <a:p>
            <a:pPr algn="ctr"/>
            <a:r>
              <a:rPr lang="en-US" sz="1500" b="1" dirty="0">
                <a:solidFill>
                  <a:schemeClr val="accent1"/>
                </a:solidFill>
                <a:latin typeface="+mj-lt"/>
              </a:rPr>
              <a:t>Frederic Laurier</a:t>
            </a:r>
          </a:p>
          <a:p>
            <a:pPr algn="ctr"/>
            <a:r>
              <a:rPr lang="en-US" sz="1200" dirty="0"/>
              <a:t>Managing Director, HealthTech</a:t>
            </a:r>
          </a:p>
        </p:txBody>
      </p:sp>
      <p:pic>
        <p:nvPicPr>
          <p:cNvPr id="1032" name="Picture 8">
            <a:hlinkClick r:id="rId9"/>
            <a:extLst>
              <a:ext uri="{FF2B5EF4-FFF2-40B4-BE49-F238E27FC236}">
                <a16:creationId xmlns:a16="http://schemas.microsoft.com/office/drawing/2014/main" id="{0FE04F4B-C002-4B20-10E9-AE1B14133AA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32212" b="32634"/>
          <a:stretch/>
        </p:blipFill>
        <p:spPr bwMode="auto">
          <a:xfrm>
            <a:off x="3304602" y="4592345"/>
            <a:ext cx="1163197" cy="22716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0" descr="Linkedin - Free social media icons">
            <a:hlinkClick r:id="rId12"/>
            <a:extLst>
              <a:ext uri="{FF2B5EF4-FFF2-40B4-BE49-F238E27FC236}">
                <a16:creationId xmlns:a16="http://schemas.microsoft.com/office/drawing/2014/main" id="{9833433A-D188-05F2-E631-449E032EA00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02403" y="4103263"/>
            <a:ext cx="189659" cy="189659"/>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C26305C1-E1F4-0B3B-F546-7760F0C457DC}"/>
              </a:ext>
            </a:extLst>
          </p:cNvPr>
          <p:cNvSpPr txBox="1"/>
          <p:nvPr/>
        </p:nvSpPr>
        <p:spPr>
          <a:xfrm>
            <a:off x="501976" y="4030097"/>
            <a:ext cx="2296936" cy="507831"/>
          </a:xfrm>
          <a:prstGeom prst="rect">
            <a:avLst/>
          </a:prstGeom>
          <a:noFill/>
        </p:spPr>
        <p:txBody>
          <a:bodyPr wrap="square" rtlCol="0">
            <a:spAutoFit/>
          </a:bodyPr>
          <a:lstStyle/>
          <a:p>
            <a:pPr algn="ctr"/>
            <a:r>
              <a:rPr lang="en-US" sz="1500" b="1" dirty="0">
                <a:solidFill>
                  <a:schemeClr val="accent1"/>
                </a:solidFill>
                <a:latin typeface="+mj-lt"/>
              </a:rPr>
              <a:t>Elan Adler</a:t>
            </a:r>
          </a:p>
          <a:p>
            <a:pPr algn="ctr"/>
            <a:r>
              <a:rPr lang="en-US" sz="1200" dirty="0"/>
              <a:t>Chief Executive Officer</a:t>
            </a:r>
          </a:p>
        </p:txBody>
      </p:sp>
      <p:pic>
        <p:nvPicPr>
          <p:cNvPr id="1034" name="Picture 10" descr="Linkedin - Free social media icons">
            <a:hlinkClick r:id="rId14"/>
            <a:extLst>
              <a:ext uri="{FF2B5EF4-FFF2-40B4-BE49-F238E27FC236}">
                <a16:creationId xmlns:a16="http://schemas.microsoft.com/office/drawing/2014/main" id="{60E76D28-C8DF-D3CE-83D7-F440B3EF9E0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31523" y="4103263"/>
            <a:ext cx="189659" cy="18965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erson in a black shirt&#10;&#10;Description automatically generated">
            <a:extLst>
              <a:ext uri="{FF2B5EF4-FFF2-40B4-BE49-F238E27FC236}">
                <a16:creationId xmlns:a16="http://schemas.microsoft.com/office/drawing/2014/main" id="{D91A0563-3FC5-D04D-4EE0-9D61AF4219B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300984" y="2667957"/>
            <a:ext cx="1170432" cy="1170432"/>
          </a:xfrm>
          <a:prstGeom prst="ellipse">
            <a:avLst/>
          </a:prstGeom>
          <a:solidFill>
            <a:srgbClr val="F7F8F4"/>
          </a:solidFill>
        </p:spPr>
      </p:pic>
      <p:sp>
        <p:nvSpPr>
          <p:cNvPr id="19" name="TextBox 18">
            <a:extLst>
              <a:ext uri="{FF2B5EF4-FFF2-40B4-BE49-F238E27FC236}">
                <a16:creationId xmlns:a16="http://schemas.microsoft.com/office/drawing/2014/main" id="{29674574-7C55-10BE-36F4-880F1BEDBD14}"/>
              </a:ext>
            </a:extLst>
          </p:cNvPr>
          <p:cNvSpPr txBox="1"/>
          <p:nvPr/>
        </p:nvSpPr>
        <p:spPr>
          <a:xfrm>
            <a:off x="4888944" y="4030097"/>
            <a:ext cx="2465300" cy="507831"/>
          </a:xfrm>
          <a:prstGeom prst="rect">
            <a:avLst/>
          </a:prstGeom>
          <a:noFill/>
        </p:spPr>
        <p:txBody>
          <a:bodyPr wrap="square" rtlCol="0">
            <a:spAutoFit/>
          </a:bodyPr>
          <a:lstStyle/>
          <a:p>
            <a:pPr algn="ctr"/>
            <a:r>
              <a:rPr lang="en-US" sz="1500" b="1" dirty="0">
                <a:solidFill>
                  <a:schemeClr val="accent1"/>
                </a:solidFill>
                <a:latin typeface="+mj-lt"/>
              </a:rPr>
              <a:t>Ricky Zhu</a:t>
            </a:r>
          </a:p>
          <a:p>
            <a:pPr algn="ctr"/>
            <a:r>
              <a:rPr lang="en-US" sz="1200" dirty="0"/>
              <a:t>Analyst, HealthTech</a:t>
            </a:r>
          </a:p>
        </p:txBody>
      </p:sp>
      <p:pic>
        <p:nvPicPr>
          <p:cNvPr id="23" name="Picture 8">
            <a:hlinkClick r:id="rId9"/>
            <a:extLst>
              <a:ext uri="{FF2B5EF4-FFF2-40B4-BE49-F238E27FC236}">
                <a16:creationId xmlns:a16="http://schemas.microsoft.com/office/drawing/2014/main" id="{80BCB59F-2D28-F3A4-5BFF-070B11B7A3A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32212" b="32634"/>
          <a:stretch/>
        </p:blipFill>
        <p:spPr bwMode="auto">
          <a:xfrm>
            <a:off x="5539996" y="4592345"/>
            <a:ext cx="1163197" cy="227165"/>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descr="Linkedin - Free social media icons">
            <a:hlinkClick r:id="rId16"/>
            <a:extLst>
              <a:ext uri="{FF2B5EF4-FFF2-40B4-BE49-F238E27FC236}">
                <a16:creationId xmlns:a16="http://schemas.microsoft.com/office/drawing/2014/main" id="{7748F892-2FF9-936F-6822-EB5785A56B5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732682" y="4103263"/>
            <a:ext cx="189659" cy="189659"/>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36ACF986-D025-3715-B434-520D8787DA11}"/>
              </a:ext>
            </a:extLst>
          </p:cNvPr>
          <p:cNvSpPr txBox="1"/>
          <p:nvPr/>
        </p:nvSpPr>
        <p:spPr>
          <a:xfrm>
            <a:off x="317184" y="5387860"/>
            <a:ext cx="7138032" cy="2846933"/>
          </a:xfrm>
          <a:prstGeom prst="rect">
            <a:avLst/>
          </a:prstGeom>
          <a:noFill/>
        </p:spPr>
        <p:txBody>
          <a:bodyPr wrap="square" lIns="91440" numCol="1" spcCol="274320" rtlCol="0">
            <a:spAutoFit/>
          </a:bodyPr>
          <a:lstStyle/>
          <a:p>
            <a:pPr marL="171450" indent="-171450">
              <a:spcAft>
                <a:spcPts val="900"/>
              </a:spcAft>
              <a:buFont typeface="Arial" panose="020B0604020202020204" pitchFamily="34" charset="0"/>
              <a:buChar char="•"/>
            </a:pPr>
            <a:r>
              <a:rPr lang="en-US" sz="1200" dirty="0"/>
              <a:t>Elan’s lifelong journey in radiology began as a teenager helping with his father’s mobile x-ray business, ultimately leading him to found </a:t>
            </a:r>
            <a:r>
              <a:rPr lang="en-US" sz="1200" dirty="0" err="1"/>
              <a:t>OneImaging</a:t>
            </a:r>
            <a:r>
              <a:rPr lang="en-US" sz="1200" dirty="0"/>
              <a:t> to fix inefficiencies he experienced firsthand</a:t>
            </a:r>
          </a:p>
          <a:p>
            <a:pPr marL="171450" indent="-171450">
              <a:spcAft>
                <a:spcPts val="300"/>
              </a:spcAft>
              <a:buFont typeface="Arial" panose="020B0604020202020204" pitchFamily="34" charset="0"/>
              <a:buChar char="•"/>
            </a:pPr>
            <a:r>
              <a:rPr lang="en-US" sz="1200" dirty="0"/>
              <a:t>Imaging decisions are often made without real transparency</a:t>
            </a:r>
          </a:p>
          <a:p>
            <a:pPr marL="342900" lvl="1" indent="-171450">
              <a:spcAft>
                <a:spcPts val="300"/>
              </a:spcAft>
              <a:buFont typeface="FS Joey Light" panose="02000506030000020004" pitchFamily="50" charset="0"/>
              <a:buChar char="–"/>
            </a:pPr>
            <a:r>
              <a:rPr lang="en-US" sz="1200" dirty="0"/>
              <a:t>Patients rely on provider referrals to clinics without knowing whether they’re receiving in-network options, the sticker price (MRIs can cost anywhere from $1,000 - $3,000) </a:t>
            </a:r>
          </a:p>
          <a:p>
            <a:pPr marL="342900" lvl="1" indent="-171450">
              <a:spcAft>
                <a:spcPts val="900"/>
              </a:spcAft>
              <a:buFont typeface="FS Joey Light" panose="02000506030000020004" pitchFamily="50" charset="0"/>
              <a:buChar char="–"/>
            </a:pPr>
            <a:r>
              <a:rPr lang="en-US" sz="1200" dirty="0"/>
              <a:t>By the same token, providers often do not have </a:t>
            </a:r>
            <a:r>
              <a:rPr lang="en-US" sz="1200" dirty="0" err="1"/>
              <a:t>have</a:t>
            </a:r>
            <a:r>
              <a:rPr lang="en-US" sz="1200" dirty="0"/>
              <a:t> clear visibility into quality or capability across imaging centers</a:t>
            </a:r>
          </a:p>
          <a:p>
            <a:pPr marL="171450" indent="-171450">
              <a:spcAft>
                <a:spcPts val="900"/>
              </a:spcAft>
              <a:buFont typeface="Arial" panose="020B0604020202020204" pitchFamily="34" charset="0"/>
              <a:buChar char="•"/>
            </a:pPr>
            <a:r>
              <a:rPr lang="en-US" sz="1200" dirty="0"/>
              <a:t>Cancellation rates for imaging appointments average around 25%, often driven by uncertainty – unclear costs, delayed authorizations, and anxiety about the exam itself</a:t>
            </a:r>
          </a:p>
          <a:p>
            <a:pPr marL="171450" indent="-171450">
              <a:spcAft>
                <a:spcPts val="900"/>
              </a:spcAft>
              <a:buFont typeface="Arial" panose="020B0604020202020204" pitchFamily="34" charset="0"/>
              <a:buChar char="•"/>
            </a:pPr>
            <a:r>
              <a:rPr lang="en-US" sz="1200" dirty="0"/>
              <a:t>Navigating healthcare marketplaces requires building across two regulated worlds — financial and clinical</a:t>
            </a:r>
          </a:p>
          <a:p>
            <a:pPr marL="171450" indent="-171450">
              <a:spcAft>
                <a:spcPts val="900"/>
              </a:spcAft>
              <a:buFont typeface="Arial" panose="020B0604020202020204" pitchFamily="34" charset="0"/>
              <a:buChar char="•"/>
            </a:pPr>
            <a:r>
              <a:rPr lang="en-US" sz="1200" dirty="0"/>
              <a:t>Imaging today is used primarily for diagnosis, but it holds untapped potential as a proactive tool for preventive care – i.e., detecting early indicators of diseases like osteoporosis long before symptoms appear</a:t>
            </a:r>
          </a:p>
        </p:txBody>
      </p:sp>
      <p:sp>
        <p:nvSpPr>
          <p:cNvPr id="53" name="Rectangle 52">
            <a:hlinkClick r:id="rId17"/>
            <a:extLst>
              <a:ext uri="{FF2B5EF4-FFF2-40B4-BE49-F238E27FC236}">
                <a16:creationId xmlns:a16="http://schemas.microsoft.com/office/drawing/2014/main" id="{162DA2A3-F341-B1F4-B0EA-3F4AD5B9AC86}"/>
              </a:ext>
            </a:extLst>
          </p:cNvPr>
          <p:cNvSpPr/>
          <p:nvPr/>
        </p:nvSpPr>
        <p:spPr>
          <a:xfrm>
            <a:off x="3759156" y="8703705"/>
            <a:ext cx="3295985" cy="41148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306D3A2A-AE3D-74D3-0483-729A5B63F7C9}"/>
              </a:ext>
            </a:extLst>
          </p:cNvPr>
          <p:cNvPicPr>
            <a:picLocks noChangeAspect="1"/>
          </p:cNvPicPr>
          <p:nvPr/>
        </p:nvPicPr>
        <p:blipFill>
          <a:blip r:embed="rId18"/>
          <a:stretch>
            <a:fillRect/>
          </a:stretch>
        </p:blipFill>
        <p:spPr>
          <a:xfrm>
            <a:off x="926192" y="4601083"/>
            <a:ext cx="1448504" cy="209688"/>
          </a:xfrm>
          <a:prstGeom prst="rect">
            <a:avLst/>
          </a:prstGeom>
        </p:spPr>
      </p:pic>
      <p:pic>
        <p:nvPicPr>
          <p:cNvPr id="4" name="Picture 3">
            <a:extLst>
              <a:ext uri="{FF2B5EF4-FFF2-40B4-BE49-F238E27FC236}">
                <a16:creationId xmlns:a16="http://schemas.microsoft.com/office/drawing/2014/main" id="{B2F49DD5-F920-E9FC-063F-3C626EDE4B41}"/>
              </a:ext>
            </a:extLst>
          </p:cNvPr>
          <p:cNvPicPr>
            <a:picLocks noChangeAspect="1"/>
          </p:cNvPicPr>
          <p:nvPr/>
        </p:nvPicPr>
        <p:blipFill>
          <a:blip r:embed="rId19"/>
          <a:stretch>
            <a:fillRect/>
          </a:stretch>
        </p:blipFill>
        <p:spPr>
          <a:xfrm>
            <a:off x="1065228" y="2667957"/>
            <a:ext cx="1170432" cy="1170432"/>
          </a:xfrm>
          <a:prstGeom prst="ellipse">
            <a:avLst/>
          </a:prstGeom>
        </p:spPr>
      </p:pic>
      <p:grpSp>
        <p:nvGrpSpPr>
          <p:cNvPr id="6" name="Group 5">
            <a:extLst>
              <a:ext uri="{FF2B5EF4-FFF2-40B4-BE49-F238E27FC236}">
                <a16:creationId xmlns:a16="http://schemas.microsoft.com/office/drawing/2014/main" id="{2463C8E7-DF1D-879D-8198-AE9958CD0BD7}"/>
              </a:ext>
            </a:extLst>
          </p:cNvPr>
          <p:cNvGrpSpPr/>
          <p:nvPr/>
        </p:nvGrpSpPr>
        <p:grpSpPr>
          <a:xfrm>
            <a:off x="5535389" y="2667957"/>
            <a:ext cx="1172409" cy="1170432"/>
            <a:chOff x="5535389" y="2667957"/>
            <a:chExt cx="1172409" cy="1170432"/>
          </a:xfrm>
        </p:grpSpPr>
        <p:sp>
          <p:nvSpPr>
            <p:cNvPr id="7" name="Oval 6">
              <a:extLst>
                <a:ext uri="{FF2B5EF4-FFF2-40B4-BE49-F238E27FC236}">
                  <a16:creationId xmlns:a16="http://schemas.microsoft.com/office/drawing/2014/main" id="{5020C07F-103C-136A-D119-9AC00D70ED03}"/>
                </a:ext>
              </a:extLst>
            </p:cNvPr>
            <p:cNvSpPr/>
            <p:nvPr/>
          </p:nvSpPr>
          <p:spPr>
            <a:xfrm>
              <a:off x="5536377" y="2674437"/>
              <a:ext cx="1170433" cy="1157472"/>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person in a suit and tie&#10;&#10;Description automatically generated">
              <a:extLst>
                <a:ext uri="{FF2B5EF4-FFF2-40B4-BE49-F238E27FC236}">
                  <a16:creationId xmlns:a16="http://schemas.microsoft.com/office/drawing/2014/main" id="{B739D3BC-448E-A0B8-5158-C08F8EDE8395}"/>
                </a:ext>
              </a:extLst>
            </p:cNvPr>
            <p:cNvPicPr>
              <a:picLocks noChangeAspect="1"/>
            </p:cNvPicPr>
            <p:nvPr/>
          </p:nvPicPr>
          <p:blipFill rotWithShape="1">
            <a:blip r:embed="rId20">
              <a:extLst>
                <a:ext uri="{28A0092B-C50C-407E-A947-70E740481C1C}">
                  <a14:useLocalDpi xmlns:a14="http://schemas.microsoft.com/office/drawing/2010/main" val="0"/>
                </a:ext>
              </a:extLst>
            </a:blip>
            <a:srcRect l="4478" r="4272" b="8904"/>
            <a:stretch/>
          </p:blipFill>
          <p:spPr>
            <a:xfrm>
              <a:off x="5535389" y="2667957"/>
              <a:ext cx="1172409" cy="1170432"/>
            </a:xfrm>
            <a:prstGeom prst="ellipse">
              <a:avLst/>
            </a:prstGeom>
          </p:spPr>
        </p:pic>
      </p:grpSp>
    </p:spTree>
    <p:extLst>
      <p:ext uri="{BB962C8B-B14F-4D97-AF65-F5344CB8AC3E}">
        <p14:creationId xmlns:p14="http://schemas.microsoft.com/office/powerpoint/2010/main" val="1419124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D9F59FBB-365C-45D8-8651-2F8B2EABDCF1}"/>
              </a:ext>
            </a:extLst>
          </p:cNvPr>
          <p:cNvSpPr txBox="1"/>
          <p:nvPr/>
        </p:nvSpPr>
        <p:spPr>
          <a:xfrm flipH="1">
            <a:off x="406908" y="725540"/>
            <a:ext cx="6958584" cy="384721"/>
          </a:xfrm>
          <a:prstGeom prst="rect">
            <a:avLst/>
          </a:prstGeom>
          <a:noFill/>
        </p:spPr>
        <p:txBody>
          <a:bodyPr wrap="square" lIns="0" tIns="0" rIns="0" bIns="0" rtlCol="0">
            <a:spAutoFit/>
          </a:bodyPr>
          <a:lstStyle/>
          <a:p>
            <a:r>
              <a:rPr lang="en-US" sz="2500" dirty="0">
                <a:solidFill>
                  <a:schemeClr val="accent1"/>
                </a:solidFill>
                <a:latin typeface="FS Joey" panose="02000506040000020004" pitchFamily="50" charset="0"/>
              </a:rPr>
              <a:t>Alantra – HealthTech Coverage</a:t>
            </a:r>
          </a:p>
        </p:txBody>
      </p:sp>
      <p:graphicFrame>
        <p:nvGraphicFramePr>
          <p:cNvPr id="2" name="Table 2">
            <a:extLst>
              <a:ext uri="{FF2B5EF4-FFF2-40B4-BE49-F238E27FC236}">
                <a16:creationId xmlns:a16="http://schemas.microsoft.com/office/drawing/2014/main" id="{F3B9234B-46B5-42DF-BF0B-6CB49C3D86D0}"/>
              </a:ext>
            </a:extLst>
          </p:cNvPr>
          <p:cNvGraphicFramePr>
            <a:graphicFrameLocks noGrp="1"/>
          </p:cNvGraphicFramePr>
          <p:nvPr>
            <p:extLst>
              <p:ext uri="{D42A27DB-BD31-4B8C-83A1-F6EECF244321}">
                <p14:modId xmlns:p14="http://schemas.microsoft.com/office/powerpoint/2010/main" val="2636952499"/>
              </p:ext>
            </p:extLst>
          </p:nvPr>
        </p:nvGraphicFramePr>
        <p:xfrm>
          <a:off x="406908" y="318008"/>
          <a:ext cx="6958584" cy="201168"/>
        </p:xfrm>
        <a:graphic>
          <a:graphicData uri="http://schemas.openxmlformats.org/drawingml/2006/table">
            <a:tbl>
              <a:tblPr firstRow="1" bandRow="1">
                <a:tableStyleId>{2D5ABB26-0587-4C30-8999-92F81FD0307C}</a:tableStyleId>
              </a:tblPr>
              <a:tblGrid>
                <a:gridCol w="4327652">
                  <a:extLst>
                    <a:ext uri="{9D8B030D-6E8A-4147-A177-3AD203B41FA5}">
                      <a16:colId xmlns:a16="http://schemas.microsoft.com/office/drawing/2014/main" val="1800358546"/>
                    </a:ext>
                  </a:extLst>
                </a:gridCol>
                <a:gridCol w="1564640">
                  <a:extLst>
                    <a:ext uri="{9D8B030D-6E8A-4147-A177-3AD203B41FA5}">
                      <a16:colId xmlns:a16="http://schemas.microsoft.com/office/drawing/2014/main" val="2602549205"/>
                    </a:ext>
                  </a:extLst>
                </a:gridCol>
                <a:gridCol w="1066292">
                  <a:extLst>
                    <a:ext uri="{9D8B030D-6E8A-4147-A177-3AD203B41FA5}">
                      <a16:colId xmlns:a16="http://schemas.microsoft.com/office/drawing/2014/main" val="52187482"/>
                    </a:ext>
                  </a:extLst>
                </a:gridCol>
              </a:tblGrid>
              <a:tr h="17399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latin typeface="+mn-lt"/>
                        </a:rPr>
                        <a:t>Reinserting Capitalism into Healthcare with Elan Adler, CEO of </a:t>
                      </a:r>
                      <a:r>
                        <a:rPr lang="en-US" sz="900" dirty="0" err="1">
                          <a:latin typeface="+mn-lt"/>
                        </a:rPr>
                        <a:t>OneImaging</a:t>
                      </a:r>
                      <a:endParaRPr lang="en-US" sz="900" dirty="0">
                        <a:latin typeface="+mn-lt"/>
                      </a:endParaRPr>
                    </a:p>
                  </a:txBody>
                  <a:tcPr marL="0" marR="0" marT="0" marB="64008"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latin typeface="+mn-lt"/>
                        </a:rPr>
                        <a:t>Podcast Episode Release</a:t>
                      </a:r>
                    </a:p>
                  </a:txBody>
                  <a:tcPr marR="0" marT="0" marB="64008" anchor="b">
                    <a:lnL w="9525" cap="flat" cmpd="sng" algn="ctr">
                      <a:solidFill>
                        <a:schemeClr val="tx1"/>
                      </a:solidFill>
                      <a:prstDash val="solid"/>
                      <a:round/>
                      <a:headEnd type="none" w="med" len="med"/>
                      <a:tailEnd type="none" w="med" len="med"/>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77240" rtl="0" eaLnBrk="1" fontAlgn="auto" latinLnBrk="0" hangingPunct="1">
                        <a:lnSpc>
                          <a:spcPct val="100000"/>
                        </a:lnSpc>
                        <a:spcBef>
                          <a:spcPts val="0"/>
                        </a:spcBef>
                        <a:spcAft>
                          <a:spcPts val="0"/>
                        </a:spcAft>
                        <a:buClrTx/>
                        <a:buSzTx/>
                        <a:buFontTx/>
                        <a:buNone/>
                        <a:tabLst/>
                        <a:defRPr/>
                      </a:pPr>
                      <a:r>
                        <a:rPr lang="en-US" sz="900" dirty="0"/>
                        <a:t>10</a:t>
                      </a:r>
                    </a:p>
                  </a:txBody>
                  <a:tcPr marL="0" marR="0" marT="0" marB="64008" anchor="b">
                    <a:lnL>
                      <a:noFill/>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6628539"/>
                  </a:ext>
                </a:extLst>
              </a:tr>
            </a:tbl>
          </a:graphicData>
        </a:graphic>
      </p:graphicFrame>
      <p:sp>
        <p:nvSpPr>
          <p:cNvPr id="98" name="Circle: Hollow 97">
            <a:extLst>
              <a:ext uri="{FF2B5EF4-FFF2-40B4-BE49-F238E27FC236}">
                <a16:creationId xmlns:a16="http://schemas.microsoft.com/office/drawing/2014/main" id="{1835C825-8096-E7F3-6341-2409D82CE607}"/>
              </a:ext>
            </a:extLst>
          </p:cNvPr>
          <p:cNvSpPr/>
          <p:nvPr/>
        </p:nvSpPr>
        <p:spPr>
          <a:xfrm>
            <a:off x="0" y="8538260"/>
            <a:ext cx="7772400" cy="7772400"/>
          </a:xfrm>
          <a:prstGeom prst="donut">
            <a:avLst>
              <a:gd name="adj" fmla="val 19521"/>
            </a:avLst>
          </a:prstGeom>
          <a:solidFill>
            <a:srgbClr val="CCD5AE">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FS Joey" panose="02000506040000020004" pitchFamily="50" charset="0"/>
            </a:endParaRPr>
          </a:p>
        </p:txBody>
      </p:sp>
      <p:graphicFrame>
        <p:nvGraphicFramePr>
          <p:cNvPr id="4" name="Chart 3">
            <a:extLst>
              <a:ext uri="{FF2B5EF4-FFF2-40B4-BE49-F238E27FC236}">
                <a16:creationId xmlns:a16="http://schemas.microsoft.com/office/drawing/2014/main" id="{E463C968-C7DA-B61C-8468-2690F3A24205}"/>
              </a:ext>
            </a:extLst>
          </p:cNvPr>
          <p:cNvGraphicFramePr/>
          <p:nvPr>
            <p:extLst>
              <p:ext uri="{D42A27DB-BD31-4B8C-83A1-F6EECF244321}">
                <p14:modId xmlns:p14="http://schemas.microsoft.com/office/powerpoint/2010/main" val="3413526031"/>
              </p:ext>
            </p:extLst>
          </p:nvPr>
        </p:nvGraphicFramePr>
        <p:xfrm>
          <a:off x="-857777" y="2073819"/>
          <a:ext cx="9487955" cy="584860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a:extLst>
              <a:ext uri="{FF2B5EF4-FFF2-40B4-BE49-F238E27FC236}">
                <a16:creationId xmlns:a16="http://schemas.microsoft.com/office/drawing/2014/main" id="{091B42A3-D595-09E0-5019-F716274A82BC}"/>
              </a:ext>
            </a:extLst>
          </p:cNvPr>
          <p:cNvGraphicFramePr/>
          <p:nvPr>
            <p:custDataLst>
              <p:tags r:id="rId1"/>
            </p:custDataLst>
            <p:extLst>
              <p:ext uri="{D42A27DB-BD31-4B8C-83A1-F6EECF244321}">
                <p14:modId xmlns:p14="http://schemas.microsoft.com/office/powerpoint/2010/main" val="3193067082"/>
              </p:ext>
            </p:extLst>
          </p:nvPr>
        </p:nvGraphicFramePr>
        <p:xfrm>
          <a:off x="714158" y="3042798"/>
          <a:ext cx="6344085" cy="3910646"/>
        </p:xfrm>
        <a:graphic>
          <a:graphicData uri="http://schemas.openxmlformats.org/drawingml/2006/chart">
            <c:chart xmlns:c="http://schemas.openxmlformats.org/drawingml/2006/chart" xmlns:r="http://schemas.openxmlformats.org/officeDocument/2006/relationships" r:id="rId5"/>
          </a:graphicData>
        </a:graphic>
      </p:graphicFrame>
      <p:pic>
        <p:nvPicPr>
          <p:cNvPr id="7" name="Picture 6" descr="Icon&#10;&#10;Description automatically generated">
            <a:extLst>
              <a:ext uri="{FF2B5EF4-FFF2-40B4-BE49-F238E27FC236}">
                <a16:creationId xmlns:a16="http://schemas.microsoft.com/office/drawing/2014/main" id="{53EA6846-79E0-7992-12C4-3D9ED8E6298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18770" y="4895517"/>
            <a:ext cx="1134861" cy="208443"/>
          </a:xfrm>
          <a:prstGeom prst="rect">
            <a:avLst/>
          </a:prstGeom>
        </p:spPr>
      </p:pic>
    </p:spTree>
    <p:extLst>
      <p:ext uri="{BB962C8B-B14F-4D97-AF65-F5344CB8AC3E}">
        <p14:creationId xmlns:p14="http://schemas.microsoft.com/office/powerpoint/2010/main" val="36480874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93F55E-5FD9-9F4E-F015-96770F366AAB}"/>
            </a:ext>
          </a:extLst>
        </p:cNvPr>
        <p:cNvGrpSpPr/>
        <p:nvPr/>
      </p:nvGrpSpPr>
      <p:grpSpPr>
        <a:xfrm>
          <a:off x="0" y="0"/>
          <a:ext cx="0" cy="0"/>
          <a:chOff x="0" y="0"/>
          <a:chExt cx="0" cy="0"/>
        </a:xfrm>
      </p:grpSpPr>
      <p:sp>
        <p:nvSpPr>
          <p:cNvPr id="31" name="TextBox 30">
            <a:extLst>
              <a:ext uri="{FF2B5EF4-FFF2-40B4-BE49-F238E27FC236}">
                <a16:creationId xmlns:a16="http://schemas.microsoft.com/office/drawing/2014/main" id="{96B3AAF9-8CE5-D33E-555D-3FCA4333C808}"/>
              </a:ext>
            </a:extLst>
          </p:cNvPr>
          <p:cNvSpPr txBox="1"/>
          <p:nvPr/>
        </p:nvSpPr>
        <p:spPr>
          <a:xfrm flipH="1">
            <a:off x="406908" y="725540"/>
            <a:ext cx="6958584" cy="384721"/>
          </a:xfrm>
          <a:prstGeom prst="rect">
            <a:avLst/>
          </a:prstGeom>
          <a:noFill/>
        </p:spPr>
        <p:txBody>
          <a:bodyPr wrap="square" lIns="0" tIns="0" rIns="0" bIns="0" rtlCol="0">
            <a:spAutoFit/>
          </a:bodyPr>
          <a:lstStyle/>
          <a:p>
            <a:r>
              <a:rPr lang="en-US" sz="2500" dirty="0">
                <a:solidFill>
                  <a:schemeClr val="accent1"/>
                </a:solidFill>
                <a:latin typeface="FS Joey" panose="02000506040000020004" pitchFamily="50" charset="0"/>
              </a:rPr>
              <a:t>Alantra – Select HealthTech Transactions</a:t>
            </a:r>
          </a:p>
        </p:txBody>
      </p:sp>
      <p:graphicFrame>
        <p:nvGraphicFramePr>
          <p:cNvPr id="2" name="Table 2">
            <a:extLst>
              <a:ext uri="{FF2B5EF4-FFF2-40B4-BE49-F238E27FC236}">
                <a16:creationId xmlns:a16="http://schemas.microsoft.com/office/drawing/2014/main" id="{7CBD8F09-42FB-A429-FF5F-C755AEC75459}"/>
              </a:ext>
            </a:extLst>
          </p:cNvPr>
          <p:cNvGraphicFramePr>
            <a:graphicFrameLocks noGrp="1"/>
          </p:cNvGraphicFramePr>
          <p:nvPr>
            <p:extLst>
              <p:ext uri="{D42A27DB-BD31-4B8C-83A1-F6EECF244321}">
                <p14:modId xmlns:p14="http://schemas.microsoft.com/office/powerpoint/2010/main" val="3887039195"/>
              </p:ext>
            </p:extLst>
          </p:nvPr>
        </p:nvGraphicFramePr>
        <p:xfrm>
          <a:off x="406908" y="318008"/>
          <a:ext cx="6958584" cy="201168"/>
        </p:xfrm>
        <a:graphic>
          <a:graphicData uri="http://schemas.openxmlformats.org/drawingml/2006/table">
            <a:tbl>
              <a:tblPr firstRow="1" bandRow="1">
                <a:tableStyleId>{2D5ABB26-0587-4C30-8999-92F81FD0307C}</a:tableStyleId>
              </a:tblPr>
              <a:tblGrid>
                <a:gridCol w="4327652">
                  <a:extLst>
                    <a:ext uri="{9D8B030D-6E8A-4147-A177-3AD203B41FA5}">
                      <a16:colId xmlns:a16="http://schemas.microsoft.com/office/drawing/2014/main" val="1800358546"/>
                    </a:ext>
                  </a:extLst>
                </a:gridCol>
                <a:gridCol w="1564640">
                  <a:extLst>
                    <a:ext uri="{9D8B030D-6E8A-4147-A177-3AD203B41FA5}">
                      <a16:colId xmlns:a16="http://schemas.microsoft.com/office/drawing/2014/main" val="2602549205"/>
                    </a:ext>
                  </a:extLst>
                </a:gridCol>
                <a:gridCol w="1066292">
                  <a:extLst>
                    <a:ext uri="{9D8B030D-6E8A-4147-A177-3AD203B41FA5}">
                      <a16:colId xmlns:a16="http://schemas.microsoft.com/office/drawing/2014/main" val="52187482"/>
                    </a:ext>
                  </a:extLst>
                </a:gridCol>
              </a:tblGrid>
              <a:tr h="17399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latin typeface="+mn-lt"/>
                        </a:rPr>
                        <a:t>Reinserting Capitalism into Healthcare with Elan Adler, CEO of </a:t>
                      </a:r>
                      <a:r>
                        <a:rPr lang="en-US" sz="900" dirty="0" err="1">
                          <a:latin typeface="+mn-lt"/>
                        </a:rPr>
                        <a:t>OneImaging</a:t>
                      </a:r>
                      <a:endParaRPr lang="en-US" sz="900" dirty="0">
                        <a:latin typeface="+mn-lt"/>
                      </a:endParaRPr>
                    </a:p>
                  </a:txBody>
                  <a:tcPr marL="0" marR="0" marT="0" marB="64008"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latin typeface="+mn-lt"/>
                        </a:rPr>
                        <a:t>Podcast Episode Release</a:t>
                      </a:r>
                    </a:p>
                  </a:txBody>
                  <a:tcPr marR="0" marT="0" marB="64008" anchor="b">
                    <a:lnL w="9525" cap="flat" cmpd="sng" algn="ctr">
                      <a:solidFill>
                        <a:schemeClr val="tx1"/>
                      </a:solidFill>
                      <a:prstDash val="solid"/>
                      <a:round/>
                      <a:headEnd type="none" w="med" len="med"/>
                      <a:tailEnd type="none" w="med" len="med"/>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77240" rtl="0" eaLnBrk="1" fontAlgn="auto" latinLnBrk="0" hangingPunct="1">
                        <a:lnSpc>
                          <a:spcPct val="100000"/>
                        </a:lnSpc>
                        <a:spcBef>
                          <a:spcPts val="0"/>
                        </a:spcBef>
                        <a:spcAft>
                          <a:spcPts val="0"/>
                        </a:spcAft>
                        <a:buClrTx/>
                        <a:buSzTx/>
                        <a:buFontTx/>
                        <a:buNone/>
                        <a:tabLst/>
                        <a:defRPr/>
                      </a:pPr>
                      <a:r>
                        <a:rPr lang="en-US" sz="900" dirty="0"/>
                        <a:t>11</a:t>
                      </a:r>
                    </a:p>
                  </a:txBody>
                  <a:tcPr marL="0" marR="0" marT="0" marB="64008" anchor="b">
                    <a:lnL>
                      <a:noFill/>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6628539"/>
                  </a:ext>
                </a:extLst>
              </a:tr>
            </a:tbl>
          </a:graphicData>
        </a:graphic>
      </p:graphicFrame>
      <p:grpSp>
        <p:nvGrpSpPr>
          <p:cNvPr id="35" name="Group 34">
            <a:extLst>
              <a:ext uri="{FF2B5EF4-FFF2-40B4-BE49-F238E27FC236}">
                <a16:creationId xmlns:a16="http://schemas.microsoft.com/office/drawing/2014/main" id="{A0044F89-3BBD-4AB3-8E68-5A15525D55E0}"/>
              </a:ext>
            </a:extLst>
          </p:cNvPr>
          <p:cNvGrpSpPr>
            <a:grpSpLocks noChangeAspect="1"/>
          </p:cNvGrpSpPr>
          <p:nvPr/>
        </p:nvGrpSpPr>
        <p:grpSpPr>
          <a:xfrm>
            <a:off x="408515" y="1327685"/>
            <a:ext cx="1276006" cy="1508426"/>
            <a:chOff x="419100" y="1141117"/>
            <a:chExt cx="1276006" cy="1508426"/>
          </a:xfrm>
        </p:grpSpPr>
        <p:sp>
          <p:nvSpPr>
            <p:cNvPr id="37" name="Rectangle 36">
              <a:extLst>
                <a:ext uri="{FF2B5EF4-FFF2-40B4-BE49-F238E27FC236}">
                  <a16:creationId xmlns:a16="http://schemas.microsoft.com/office/drawing/2014/main" id="{E417F2C6-519D-DD8D-97F1-B5D506A402B5}"/>
                </a:ext>
              </a:extLst>
            </p:cNvPr>
            <p:cNvSpPr>
              <a:spLocks noChangeAspect="1"/>
            </p:cNvSpPr>
            <p:nvPr/>
          </p:nvSpPr>
          <p:spPr>
            <a:xfrm>
              <a:off x="419958" y="1141117"/>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Deal type">
              <a:extLst>
                <a:ext uri="{FF2B5EF4-FFF2-40B4-BE49-F238E27FC236}">
                  <a16:creationId xmlns:a16="http://schemas.microsoft.com/office/drawing/2014/main" id="{C824D887-7695-D015-AB83-E1FA584B14CD}"/>
                </a:ext>
              </a:extLst>
            </p:cNvPr>
            <p:cNvSpPr txBox="1">
              <a:spLocks/>
            </p:cNvSpPr>
            <p:nvPr/>
          </p:nvSpPr>
          <p:spPr>
            <a:xfrm>
              <a:off x="419100" y="2308379"/>
              <a:ext cx="1276006"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CardioDiagnostics on its sale to </a:t>
              </a:r>
              <a:r>
                <a:rPr lang="en-US" sz="800" err="1"/>
                <a:t>CardioOne</a:t>
              </a:r>
              <a:endParaRPr lang="en-US" sz="800"/>
            </a:p>
          </p:txBody>
        </p:sp>
        <p:pic>
          <p:nvPicPr>
            <p:cNvPr id="43" name="Picture 2">
              <a:extLst>
                <a:ext uri="{FF2B5EF4-FFF2-40B4-BE49-F238E27FC236}">
                  <a16:creationId xmlns:a16="http://schemas.microsoft.com/office/drawing/2014/main" id="{20258F5A-8931-459F-AAFD-83693802ED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58" y="1515817"/>
              <a:ext cx="1099090" cy="134237"/>
            </a:xfrm>
            <a:prstGeom prst="rect">
              <a:avLst/>
            </a:prstGeom>
            <a:solidFill>
              <a:schemeClr val="bg1"/>
            </a:solidFill>
            <a:ln>
              <a:noFill/>
            </a:ln>
          </p:spPr>
        </p:pic>
        <p:grpSp>
          <p:nvGrpSpPr>
            <p:cNvPr id="44" name="Group 43">
              <a:extLst>
                <a:ext uri="{FF2B5EF4-FFF2-40B4-BE49-F238E27FC236}">
                  <a16:creationId xmlns:a16="http://schemas.microsoft.com/office/drawing/2014/main" id="{56668A07-A265-AFC0-AC6E-5AB4247049E9}"/>
                </a:ext>
              </a:extLst>
            </p:cNvPr>
            <p:cNvGrpSpPr/>
            <p:nvPr/>
          </p:nvGrpSpPr>
          <p:grpSpPr>
            <a:xfrm>
              <a:off x="627458" y="1884457"/>
              <a:ext cx="859291" cy="338936"/>
              <a:chOff x="3990403" y="2686386"/>
              <a:chExt cx="929978" cy="366818"/>
            </a:xfrm>
            <a:solidFill>
              <a:schemeClr val="bg1"/>
            </a:solidFill>
          </p:grpSpPr>
          <p:pic>
            <p:nvPicPr>
              <p:cNvPr id="52" name="Picture 51">
                <a:extLst>
                  <a:ext uri="{FF2B5EF4-FFF2-40B4-BE49-F238E27FC236}">
                    <a16:creationId xmlns:a16="http://schemas.microsoft.com/office/drawing/2014/main" id="{69ACE9EC-F63E-23DC-9D4C-C7641449B614}"/>
                  </a:ext>
                </a:extLst>
              </p:cNvPr>
              <p:cNvPicPr>
                <a:picLocks noChangeAspect="1"/>
              </p:cNvPicPr>
              <p:nvPr/>
            </p:nvPicPr>
            <p:blipFill>
              <a:blip r:embed="rId4"/>
              <a:stretch>
                <a:fillRect/>
              </a:stretch>
            </p:blipFill>
            <p:spPr>
              <a:xfrm>
                <a:off x="3990403" y="2686386"/>
                <a:ext cx="929978" cy="148543"/>
              </a:xfrm>
              <a:prstGeom prst="rect">
                <a:avLst/>
              </a:prstGeom>
              <a:grpFill/>
              <a:ln>
                <a:noFill/>
              </a:ln>
            </p:spPr>
          </p:pic>
          <p:pic>
            <p:nvPicPr>
              <p:cNvPr id="53" name="Picture 52">
                <a:extLst>
                  <a:ext uri="{FF2B5EF4-FFF2-40B4-BE49-F238E27FC236}">
                    <a16:creationId xmlns:a16="http://schemas.microsoft.com/office/drawing/2014/main" id="{32FBE83F-599C-FF5B-2380-C1DD4F055841}"/>
                  </a:ext>
                </a:extLst>
              </p:cNvPr>
              <p:cNvPicPr>
                <a:picLocks noChangeAspect="1"/>
              </p:cNvPicPr>
              <p:nvPr/>
            </p:nvPicPr>
            <p:blipFill>
              <a:blip r:embed="rId5"/>
              <a:stretch>
                <a:fillRect/>
              </a:stretch>
            </p:blipFill>
            <p:spPr>
              <a:xfrm>
                <a:off x="4057849" y="2906113"/>
                <a:ext cx="795086" cy="147091"/>
              </a:xfrm>
              <a:prstGeom prst="rect">
                <a:avLst/>
              </a:prstGeom>
              <a:grpFill/>
              <a:ln>
                <a:noFill/>
              </a:ln>
            </p:spPr>
          </p:pic>
        </p:grpSp>
        <p:sp>
          <p:nvSpPr>
            <p:cNvPr id="45" name="Flag_1">
              <a:extLst>
                <a:ext uri="{FF2B5EF4-FFF2-40B4-BE49-F238E27FC236}">
                  <a16:creationId xmlns:a16="http://schemas.microsoft.com/office/drawing/2014/main" id="{B9251710-8CDF-A6D3-1809-903370337567}"/>
                </a:ext>
              </a:extLst>
            </p:cNvPr>
            <p:cNvSpPr txBox="1">
              <a:spLocks noChangeAspect="1"/>
            </p:cNvSpPr>
            <p:nvPr/>
          </p:nvSpPr>
          <p:spPr>
            <a:xfrm>
              <a:off x="1467724" y="1180255"/>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grpSp>
        <p:nvGrpSpPr>
          <p:cNvPr id="54" name="Group 53">
            <a:extLst>
              <a:ext uri="{FF2B5EF4-FFF2-40B4-BE49-F238E27FC236}">
                <a16:creationId xmlns:a16="http://schemas.microsoft.com/office/drawing/2014/main" id="{03954029-DF98-3E66-7CB8-BDF14DE8C2B2}"/>
              </a:ext>
            </a:extLst>
          </p:cNvPr>
          <p:cNvGrpSpPr>
            <a:grpSpLocks noChangeAspect="1"/>
          </p:cNvGrpSpPr>
          <p:nvPr/>
        </p:nvGrpSpPr>
        <p:grpSpPr>
          <a:xfrm>
            <a:off x="3245502" y="2949550"/>
            <a:ext cx="1276006" cy="1508426"/>
            <a:chOff x="10494818" y="1141117"/>
            <a:chExt cx="1276006" cy="1508426"/>
          </a:xfrm>
        </p:grpSpPr>
        <p:sp>
          <p:nvSpPr>
            <p:cNvPr id="56" name="Rectangle 55">
              <a:extLst>
                <a:ext uri="{FF2B5EF4-FFF2-40B4-BE49-F238E27FC236}">
                  <a16:creationId xmlns:a16="http://schemas.microsoft.com/office/drawing/2014/main" id="{ED4A62CA-2B46-3B4F-3D6C-5CF419442E4A}"/>
                </a:ext>
              </a:extLst>
            </p:cNvPr>
            <p:cNvSpPr>
              <a:spLocks noChangeAspect="1"/>
            </p:cNvSpPr>
            <p:nvPr/>
          </p:nvSpPr>
          <p:spPr>
            <a:xfrm>
              <a:off x="10495676" y="1141117"/>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Deal type">
              <a:extLst>
                <a:ext uri="{FF2B5EF4-FFF2-40B4-BE49-F238E27FC236}">
                  <a16:creationId xmlns:a16="http://schemas.microsoft.com/office/drawing/2014/main" id="{1998DE71-D898-F94F-291E-EEEAE85666D3}"/>
                </a:ext>
              </a:extLst>
            </p:cNvPr>
            <p:cNvSpPr txBox="1">
              <a:spLocks/>
            </p:cNvSpPr>
            <p:nvPr/>
          </p:nvSpPr>
          <p:spPr>
            <a:xfrm>
              <a:off x="10494818" y="2308379"/>
              <a:ext cx="1276006" cy="336142"/>
            </a:xfrm>
            <a:prstGeom prst="rect">
              <a:avLst/>
            </a:prstGeom>
            <a:ln>
              <a:noFill/>
            </a:ln>
          </p:spPr>
          <p:txBody>
            <a:bodyPr vert="horz" wrap="square" lIns="36576" tIns="0" rIns="36576" bIns="64008" rtlCol="0" anchor="b">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Infinia</a:t>
              </a:r>
              <a:r>
                <a:rPr lang="en-US" sz="800"/>
                <a:t> ML on its </a:t>
              </a:r>
              <a:br>
                <a:rPr lang="en-US" sz="800"/>
              </a:br>
              <a:r>
                <a:rPr lang="en-US" sz="800"/>
                <a:t>sale to </a:t>
              </a:r>
              <a:r>
                <a:rPr lang="en-US" sz="800" err="1"/>
                <a:t>Aspirion</a:t>
              </a:r>
              <a:endParaRPr lang="en-US" sz="800"/>
            </a:p>
          </p:txBody>
        </p:sp>
        <p:pic>
          <p:nvPicPr>
            <p:cNvPr id="58" name="Picture 57">
              <a:extLst>
                <a:ext uri="{FF2B5EF4-FFF2-40B4-BE49-F238E27FC236}">
                  <a16:creationId xmlns:a16="http://schemas.microsoft.com/office/drawing/2014/main" id="{39FDFCD5-CA16-79B6-7AB9-A201677EA211}"/>
                </a:ext>
              </a:extLst>
            </p:cNvPr>
            <p:cNvPicPr>
              <a:picLocks noChangeAspect="1"/>
            </p:cNvPicPr>
            <p:nvPr/>
          </p:nvPicPr>
          <p:blipFill>
            <a:blip r:embed="rId7"/>
            <a:stretch>
              <a:fillRect/>
            </a:stretch>
          </p:blipFill>
          <p:spPr>
            <a:xfrm>
              <a:off x="10804765" y="1429167"/>
              <a:ext cx="656112" cy="344987"/>
            </a:xfrm>
            <a:prstGeom prst="rect">
              <a:avLst/>
            </a:prstGeom>
          </p:spPr>
        </p:pic>
        <p:pic>
          <p:nvPicPr>
            <p:cNvPr id="59" name="Picture 58">
              <a:extLst>
                <a:ext uri="{FF2B5EF4-FFF2-40B4-BE49-F238E27FC236}">
                  <a16:creationId xmlns:a16="http://schemas.microsoft.com/office/drawing/2014/main" id="{4933F5E5-0CA2-CC69-9CA1-63E9AB1B37C1}"/>
                </a:ext>
              </a:extLst>
            </p:cNvPr>
            <p:cNvPicPr>
              <a:picLocks noChangeAspect="1"/>
            </p:cNvPicPr>
            <p:nvPr/>
          </p:nvPicPr>
          <p:blipFill>
            <a:blip r:embed="rId8"/>
            <a:stretch>
              <a:fillRect/>
            </a:stretch>
          </p:blipFill>
          <p:spPr>
            <a:xfrm>
              <a:off x="10796300" y="1885265"/>
              <a:ext cx="673042" cy="336522"/>
            </a:xfrm>
            <a:prstGeom prst="rect">
              <a:avLst/>
            </a:prstGeom>
          </p:spPr>
        </p:pic>
        <p:sp>
          <p:nvSpPr>
            <p:cNvPr id="60" name="Flag_1">
              <a:extLst>
                <a:ext uri="{FF2B5EF4-FFF2-40B4-BE49-F238E27FC236}">
                  <a16:creationId xmlns:a16="http://schemas.microsoft.com/office/drawing/2014/main" id="{FE1CDC3D-DC8A-DE79-08F4-54703E644877}"/>
                </a:ext>
              </a:extLst>
            </p:cNvPr>
            <p:cNvSpPr txBox="1">
              <a:spLocks noChangeAspect="1"/>
            </p:cNvSpPr>
            <p:nvPr/>
          </p:nvSpPr>
          <p:spPr>
            <a:xfrm>
              <a:off x="11543442" y="1180256"/>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grpSp>
        <p:nvGrpSpPr>
          <p:cNvPr id="63" name="Group 62">
            <a:extLst>
              <a:ext uri="{FF2B5EF4-FFF2-40B4-BE49-F238E27FC236}">
                <a16:creationId xmlns:a16="http://schemas.microsoft.com/office/drawing/2014/main" id="{8A59F63D-2069-3600-FE03-0DE2C0EFBDE5}"/>
              </a:ext>
            </a:extLst>
          </p:cNvPr>
          <p:cNvGrpSpPr>
            <a:grpSpLocks noChangeAspect="1"/>
          </p:cNvGrpSpPr>
          <p:nvPr/>
        </p:nvGrpSpPr>
        <p:grpSpPr>
          <a:xfrm>
            <a:off x="1825506" y="2949359"/>
            <a:ext cx="1276006" cy="1508426"/>
            <a:chOff x="9055157" y="1141117"/>
            <a:chExt cx="1276006" cy="1508426"/>
          </a:xfrm>
        </p:grpSpPr>
        <p:sp>
          <p:nvSpPr>
            <p:cNvPr id="449" name="Rectangle 448">
              <a:extLst>
                <a:ext uri="{FF2B5EF4-FFF2-40B4-BE49-F238E27FC236}">
                  <a16:creationId xmlns:a16="http://schemas.microsoft.com/office/drawing/2014/main" id="{7FF6D555-5588-DDAE-99A0-6039D738283B}"/>
                </a:ext>
              </a:extLst>
            </p:cNvPr>
            <p:cNvSpPr>
              <a:spLocks noChangeAspect="1"/>
            </p:cNvSpPr>
            <p:nvPr/>
          </p:nvSpPr>
          <p:spPr>
            <a:xfrm>
              <a:off x="9056015" y="1141117"/>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0" name="Deal type">
              <a:extLst>
                <a:ext uri="{FF2B5EF4-FFF2-40B4-BE49-F238E27FC236}">
                  <a16:creationId xmlns:a16="http://schemas.microsoft.com/office/drawing/2014/main" id="{57CEC256-4FD8-0262-2AEE-B2DC1CDC6821}"/>
                </a:ext>
              </a:extLst>
            </p:cNvPr>
            <p:cNvSpPr txBox="1">
              <a:spLocks/>
            </p:cNvSpPr>
            <p:nvPr/>
          </p:nvSpPr>
          <p:spPr>
            <a:xfrm>
              <a:off x="9055157" y="2308379"/>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WOOM on its sale to </a:t>
              </a:r>
              <a:r>
                <a:rPr lang="en-US" sz="800" err="1"/>
                <a:t>Apricity</a:t>
              </a:r>
              <a:endParaRPr lang="en-US" sz="800"/>
            </a:p>
          </p:txBody>
        </p:sp>
        <p:pic>
          <p:nvPicPr>
            <p:cNvPr id="451" name="Picture 2">
              <a:extLst>
                <a:ext uri="{FF2B5EF4-FFF2-40B4-BE49-F238E27FC236}">
                  <a16:creationId xmlns:a16="http://schemas.microsoft.com/office/drawing/2014/main" id="{7B0AC8FD-B40C-194E-285C-33461A65FBE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36214" b="36214"/>
            <a:stretch/>
          </p:blipFill>
          <p:spPr bwMode="auto">
            <a:xfrm>
              <a:off x="9273954" y="1486077"/>
              <a:ext cx="838412" cy="231166"/>
            </a:xfrm>
            <a:prstGeom prst="rect">
              <a:avLst/>
            </a:prstGeom>
            <a:noFill/>
            <a:extLst>
              <a:ext uri="{909E8E84-426E-40DD-AFC4-6F175D3DCCD1}">
                <a14:hiddenFill xmlns:a14="http://schemas.microsoft.com/office/drawing/2010/main">
                  <a:solidFill>
                    <a:srgbClr val="FFFFFF"/>
                  </a:solidFill>
                </a14:hiddenFill>
              </a:ext>
            </a:extLst>
          </p:spPr>
        </p:pic>
        <p:pic>
          <p:nvPicPr>
            <p:cNvPr id="456" name="Picture 4">
              <a:extLst>
                <a:ext uri="{FF2B5EF4-FFF2-40B4-BE49-F238E27FC236}">
                  <a16:creationId xmlns:a16="http://schemas.microsoft.com/office/drawing/2014/main" id="{EF788A9A-002C-17D1-D4E1-E44F848CD1E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273694" y="1935883"/>
              <a:ext cx="838932" cy="236084"/>
            </a:xfrm>
            <a:prstGeom prst="rect">
              <a:avLst/>
            </a:prstGeom>
            <a:noFill/>
            <a:extLst>
              <a:ext uri="{909E8E84-426E-40DD-AFC4-6F175D3DCCD1}">
                <a14:hiddenFill xmlns:a14="http://schemas.microsoft.com/office/drawing/2010/main">
                  <a:solidFill>
                    <a:srgbClr val="FFFFFF"/>
                  </a:solidFill>
                </a14:hiddenFill>
              </a:ext>
            </a:extLst>
          </p:spPr>
        </p:pic>
        <p:sp>
          <p:nvSpPr>
            <p:cNvPr id="458" name="Flag_2">
              <a:extLst>
                <a:ext uri="{FF2B5EF4-FFF2-40B4-BE49-F238E27FC236}">
                  <a16:creationId xmlns:a16="http://schemas.microsoft.com/office/drawing/2014/main" id="{9C416E2F-7E2C-CE3E-CD3E-10D21DFBE22F}"/>
                </a:ext>
              </a:extLst>
            </p:cNvPr>
            <p:cNvSpPr txBox="1">
              <a:spLocks noChangeAspect="1"/>
            </p:cNvSpPr>
            <p:nvPr/>
          </p:nvSpPr>
          <p:spPr>
            <a:xfrm>
              <a:off x="9693226" y="1180673"/>
              <a:ext cx="162203" cy="161677"/>
            </a:xfrm>
            <a:prstGeom prst="rect">
              <a:avLst/>
            </a:prstGeom>
            <a:blipFill dpi="0" rotWithShape="1">
              <a:blip r:embed="rId11">
                <a:alphaModFix/>
              </a:blip>
              <a:srcRect/>
              <a:stretch>
                <a:fillRect/>
              </a:stretch>
            </a:blipFill>
            <a:ln>
              <a:noFill/>
            </a:ln>
          </p:spPr>
          <p:txBody>
            <a:bodyPr vert="horz" wrap="square" lIns="0" tIns="0" rIns="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900"/>
            </a:p>
          </p:txBody>
        </p:sp>
        <p:sp>
          <p:nvSpPr>
            <p:cNvPr id="459" name="Flag_1">
              <a:extLst>
                <a:ext uri="{FF2B5EF4-FFF2-40B4-BE49-F238E27FC236}">
                  <a16:creationId xmlns:a16="http://schemas.microsoft.com/office/drawing/2014/main" id="{625BCF44-5A3B-4FEB-A137-64A1B8FAE768}"/>
                </a:ext>
              </a:extLst>
            </p:cNvPr>
            <p:cNvSpPr txBox="1">
              <a:spLocks noChangeAspect="1"/>
            </p:cNvSpPr>
            <p:nvPr/>
          </p:nvSpPr>
          <p:spPr>
            <a:xfrm>
              <a:off x="10104360" y="1179568"/>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460" name="Imagen 255">
              <a:extLst>
                <a:ext uri="{FF2B5EF4-FFF2-40B4-BE49-F238E27FC236}">
                  <a16:creationId xmlns:a16="http://schemas.microsoft.com/office/drawing/2014/main" id="{92DD9D43-DCA4-E359-60DD-4585BAC4CEF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899408" y="1179568"/>
              <a:ext cx="160972" cy="160972"/>
            </a:xfrm>
            <a:prstGeom prst="rect">
              <a:avLst/>
            </a:prstGeom>
          </p:spPr>
        </p:pic>
      </p:grpSp>
      <p:grpSp>
        <p:nvGrpSpPr>
          <p:cNvPr id="463" name="Group 462">
            <a:extLst>
              <a:ext uri="{FF2B5EF4-FFF2-40B4-BE49-F238E27FC236}">
                <a16:creationId xmlns:a16="http://schemas.microsoft.com/office/drawing/2014/main" id="{E9A18C8D-B8D2-0241-1D45-C2104A898BDE}"/>
              </a:ext>
            </a:extLst>
          </p:cNvPr>
          <p:cNvGrpSpPr>
            <a:grpSpLocks noChangeAspect="1"/>
          </p:cNvGrpSpPr>
          <p:nvPr/>
        </p:nvGrpSpPr>
        <p:grpSpPr>
          <a:xfrm>
            <a:off x="407727" y="2949550"/>
            <a:ext cx="1274289" cy="1508426"/>
            <a:chOff x="7606537" y="1141117"/>
            <a:chExt cx="1274289" cy="1508426"/>
          </a:xfrm>
        </p:grpSpPr>
        <p:sp>
          <p:nvSpPr>
            <p:cNvPr id="464" name="Rectangle 463">
              <a:extLst>
                <a:ext uri="{FF2B5EF4-FFF2-40B4-BE49-F238E27FC236}">
                  <a16:creationId xmlns:a16="http://schemas.microsoft.com/office/drawing/2014/main" id="{B7F38C7F-F876-CB8A-F90E-2A427A58CE3F}"/>
                </a:ext>
              </a:extLst>
            </p:cNvPr>
            <p:cNvSpPr>
              <a:spLocks noChangeAspect="1"/>
            </p:cNvSpPr>
            <p:nvPr/>
          </p:nvSpPr>
          <p:spPr>
            <a:xfrm>
              <a:off x="7606537" y="1141117"/>
              <a:ext cx="1274289"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Deal type">
              <a:extLst>
                <a:ext uri="{FF2B5EF4-FFF2-40B4-BE49-F238E27FC236}">
                  <a16:creationId xmlns:a16="http://schemas.microsoft.com/office/drawing/2014/main" id="{40C21196-69CC-009F-ABE6-BA96E2A77974}"/>
                </a:ext>
              </a:extLst>
            </p:cNvPr>
            <p:cNvSpPr txBox="1">
              <a:spLocks/>
            </p:cNvSpPr>
            <p:nvPr/>
          </p:nvSpPr>
          <p:spPr>
            <a:xfrm>
              <a:off x="7668950" y="2308379"/>
              <a:ext cx="1160005"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Riffyn</a:t>
              </a:r>
              <a:r>
                <a:rPr lang="en-US" sz="800"/>
                <a:t> on its sale to Siemens</a:t>
              </a:r>
            </a:p>
          </p:txBody>
        </p:sp>
        <p:sp>
          <p:nvSpPr>
            <p:cNvPr id="467" name="Flag_1">
              <a:extLst>
                <a:ext uri="{FF2B5EF4-FFF2-40B4-BE49-F238E27FC236}">
                  <a16:creationId xmlns:a16="http://schemas.microsoft.com/office/drawing/2014/main" id="{56023DC3-39A9-59B7-AA5B-3EB39D873E94}"/>
                </a:ext>
              </a:extLst>
            </p:cNvPr>
            <p:cNvSpPr txBox="1">
              <a:spLocks noChangeAspect="1"/>
            </p:cNvSpPr>
            <p:nvPr/>
          </p:nvSpPr>
          <p:spPr>
            <a:xfrm>
              <a:off x="8659573" y="1180255"/>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468" name="Picture 2">
              <a:extLst>
                <a:ext uri="{FF2B5EF4-FFF2-40B4-BE49-F238E27FC236}">
                  <a16:creationId xmlns:a16="http://schemas.microsoft.com/office/drawing/2014/main" id="{985E2C16-B753-7706-6659-154395C778C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9007" t="33217" r="18709" b="33569"/>
            <a:stretch/>
          </p:blipFill>
          <p:spPr bwMode="auto">
            <a:xfrm>
              <a:off x="7875263" y="1503424"/>
              <a:ext cx="736837" cy="196472"/>
            </a:xfrm>
            <a:prstGeom prst="rect">
              <a:avLst/>
            </a:prstGeom>
            <a:noFill/>
            <a:extLst>
              <a:ext uri="{909E8E84-426E-40DD-AFC4-6F175D3DCCD1}">
                <a14:hiddenFill xmlns:a14="http://schemas.microsoft.com/office/drawing/2010/main">
                  <a:solidFill>
                    <a:srgbClr val="FFFFFF"/>
                  </a:solidFill>
                </a14:hiddenFill>
              </a:ext>
            </a:extLst>
          </p:spPr>
        </p:pic>
        <p:pic>
          <p:nvPicPr>
            <p:cNvPr id="472" name="Picture 16">
              <a:extLst>
                <a:ext uri="{FF2B5EF4-FFF2-40B4-BE49-F238E27FC236}">
                  <a16:creationId xmlns:a16="http://schemas.microsoft.com/office/drawing/2014/main" id="{444FDDC4-E448-836F-B294-7E09FDF9529C}"/>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34425" b="34492"/>
            <a:stretch/>
          </p:blipFill>
          <p:spPr bwMode="auto">
            <a:xfrm>
              <a:off x="7830284" y="1981646"/>
              <a:ext cx="826795" cy="14455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3" name="Group 472">
            <a:extLst>
              <a:ext uri="{FF2B5EF4-FFF2-40B4-BE49-F238E27FC236}">
                <a16:creationId xmlns:a16="http://schemas.microsoft.com/office/drawing/2014/main" id="{9C1D9FE0-EABC-AB43-3956-29C76FC407D6}"/>
              </a:ext>
            </a:extLst>
          </p:cNvPr>
          <p:cNvGrpSpPr>
            <a:grpSpLocks noChangeAspect="1"/>
          </p:cNvGrpSpPr>
          <p:nvPr/>
        </p:nvGrpSpPr>
        <p:grpSpPr>
          <a:xfrm>
            <a:off x="6089014" y="1327686"/>
            <a:ext cx="1276864" cy="1508426"/>
            <a:chOff x="6165777" y="1141117"/>
            <a:chExt cx="1276864" cy="1508426"/>
          </a:xfrm>
        </p:grpSpPr>
        <p:sp>
          <p:nvSpPr>
            <p:cNvPr id="475" name="Rectangle 474">
              <a:extLst>
                <a:ext uri="{FF2B5EF4-FFF2-40B4-BE49-F238E27FC236}">
                  <a16:creationId xmlns:a16="http://schemas.microsoft.com/office/drawing/2014/main" id="{FF9B9BA8-1C52-8F5C-E90F-78D9E51901D4}"/>
                </a:ext>
              </a:extLst>
            </p:cNvPr>
            <p:cNvSpPr>
              <a:spLocks noChangeAspect="1"/>
            </p:cNvSpPr>
            <p:nvPr/>
          </p:nvSpPr>
          <p:spPr>
            <a:xfrm>
              <a:off x="6165777" y="1141117"/>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6" name="Deal type">
              <a:extLst>
                <a:ext uri="{FF2B5EF4-FFF2-40B4-BE49-F238E27FC236}">
                  <a16:creationId xmlns:a16="http://schemas.microsoft.com/office/drawing/2014/main" id="{EBEA2C19-4B59-A793-3353-94C5DAF4AE12}"/>
                </a:ext>
              </a:extLst>
            </p:cNvPr>
            <p:cNvSpPr txBox="1">
              <a:spLocks/>
            </p:cNvSpPr>
            <p:nvPr/>
          </p:nvSpPr>
          <p:spPr>
            <a:xfrm>
              <a:off x="6166635" y="2308379"/>
              <a:ext cx="1276006" cy="336142"/>
            </a:xfrm>
            <a:prstGeom prst="rect">
              <a:avLst/>
            </a:prstGeom>
            <a:ln>
              <a:noFill/>
            </a:ln>
          </p:spPr>
          <p:txBody>
            <a:bodyPr vert="horz" wrap="square" lIns="36576" tIns="0" rIns="36576" bIns="64008" rtlCol="0" anchor="b">
              <a:normAutofit fontScale="92500"/>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dirty="0"/>
                <a:t>Advisor to Analytical Wizards on its sale to Definitive Healthcare</a:t>
              </a:r>
            </a:p>
          </p:txBody>
        </p:sp>
        <p:pic>
          <p:nvPicPr>
            <p:cNvPr id="477" name="Picture 6">
              <a:extLst>
                <a:ext uri="{FF2B5EF4-FFF2-40B4-BE49-F238E27FC236}">
                  <a16:creationId xmlns:a16="http://schemas.microsoft.com/office/drawing/2014/main" id="{5AB2EE07-1983-C51F-0D75-EF380A1CC23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390037" y="1494535"/>
              <a:ext cx="825771" cy="214250"/>
            </a:xfrm>
            <a:prstGeom prst="rect">
              <a:avLst/>
            </a:prstGeom>
            <a:noFill/>
            <a:extLst>
              <a:ext uri="{909E8E84-426E-40DD-AFC4-6F175D3DCCD1}">
                <a14:hiddenFill xmlns:a14="http://schemas.microsoft.com/office/drawing/2010/main">
                  <a:solidFill>
                    <a:srgbClr val="FFFFFF"/>
                  </a:solidFill>
                </a14:hiddenFill>
              </a:ext>
            </a:extLst>
          </p:spPr>
        </p:pic>
        <p:pic>
          <p:nvPicPr>
            <p:cNvPr id="479" name="Picture 2">
              <a:extLst>
                <a:ext uri="{FF2B5EF4-FFF2-40B4-BE49-F238E27FC236}">
                  <a16:creationId xmlns:a16="http://schemas.microsoft.com/office/drawing/2014/main" id="{4BEDB204-6632-F6D9-C231-98F72E80BC20}"/>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28944" b="29293"/>
            <a:stretch/>
          </p:blipFill>
          <p:spPr bwMode="auto">
            <a:xfrm>
              <a:off x="6348748" y="1954346"/>
              <a:ext cx="908348" cy="199159"/>
            </a:xfrm>
            <a:prstGeom prst="rect">
              <a:avLst/>
            </a:prstGeom>
            <a:noFill/>
            <a:extLst>
              <a:ext uri="{909E8E84-426E-40DD-AFC4-6F175D3DCCD1}">
                <a14:hiddenFill xmlns:a14="http://schemas.microsoft.com/office/drawing/2010/main">
                  <a:solidFill>
                    <a:srgbClr val="FFFFFF"/>
                  </a:solidFill>
                </a14:hiddenFill>
              </a:ext>
            </a:extLst>
          </p:spPr>
        </p:pic>
        <p:sp>
          <p:nvSpPr>
            <p:cNvPr id="482" name="Flag_1">
              <a:extLst>
                <a:ext uri="{FF2B5EF4-FFF2-40B4-BE49-F238E27FC236}">
                  <a16:creationId xmlns:a16="http://schemas.microsoft.com/office/drawing/2014/main" id="{3463BF7B-9F22-2073-C9D4-FA498FE5F1F0}"/>
                </a:ext>
              </a:extLst>
            </p:cNvPr>
            <p:cNvSpPr txBox="1">
              <a:spLocks noChangeAspect="1"/>
            </p:cNvSpPr>
            <p:nvPr/>
          </p:nvSpPr>
          <p:spPr>
            <a:xfrm>
              <a:off x="7215258" y="1180255"/>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grpSp>
        <p:nvGrpSpPr>
          <p:cNvPr id="483" name="Group 482">
            <a:extLst>
              <a:ext uri="{FF2B5EF4-FFF2-40B4-BE49-F238E27FC236}">
                <a16:creationId xmlns:a16="http://schemas.microsoft.com/office/drawing/2014/main" id="{A8082D33-9284-628C-24B5-088AD4158858}"/>
              </a:ext>
            </a:extLst>
          </p:cNvPr>
          <p:cNvGrpSpPr>
            <a:grpSpLocks noChangeAspect="1"/>
          </p:cNvGrpSpPr>
          <p:nvPr/>
        </p:nvGrpSpPr>
        <p:grpSpPr>
          <a:xfrm>
            <a:off x="1828335" y="1327858"/>
            <a:ext cx="1276006" cy="1508426"/>
            <a:chOff x="1854605" y="1141117"/>
            <a:chExt cx="1276006" cy="1508426"/>
          </a:xfrm>
        </p:grpSpPr>
        <p:sp>
          <p:nvSpPr>
            <p:cNvPr id="484" name="Rectangle 483">
              <a:extLst>
                <a:ext uri="{FF2B5EF4-FFF2-40B4-BE49-F238E27FC236}">
                  <a16:creationId xmlns:a16="http://schemas.microsoft.com/office/drawing/2014/main" id="{94CDDD2E-229A-6AF3-D22E-EA761BC926E5}"/>
                </a:ext>
              </a:extLst>
            </p:cNvPr>
            <p:cNvSpPr>
              <a:spLocks noChangeAspect="1"/>
            </p:cNvSpPr>
            <p:nvPr/>
          </p:nvSpPr>
          <p:spPr>
            <a:xfrm>
              <a:off x="1855463" y="1141117"/>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Deal type">
              <a:extLst>
                <a:ext uri="{FF2B5EF4-FFF2-40B4-BE49-F238E27FC236}">
                  <a16:creationId xmlns:a16="http://schemas.microsoft.com/office/drawing/2014/main" id="{D2864133-6076-7376-8AE0-018161E1418A}"/>
                </a:ext>
              </a:extLst>
            </p:cNvPr>
            <p:cNvSpPr txBox="1">
              <a:spLocks/>
            </p:cNvSpPr>
            <p:nvPr/>
          </p:nvSpPr>
          <p:spPr>
            <a:xfrm>
              <a:off x="1854605" y="2308379"/>
              <a:ext cx="1276006"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Kirkbi</a:t>
              </a:r>
              <a:r>
                <a:rPr lang="en-US" sz="800"/>
                <a:t> on its </a:t>
              </a:r>
              <a:br>
                <a:rPr lang="en-US" sz="800"/>
              </a:br>
              <a:r>
                <a:rPr lang="en-US" sz="800"/>
                <a:t>investment in </a:t>
              </a:r>
              <a:r>
                <a:rPr lang="en-US" sz="800" err="1"/>
                <a:t>Amboss</a:t>
              </a:r>
              <a:endParaRPr lang="en-US" sz="800"/>
            </a:p>
          </p:txBody>
        </p:sp>
        <p:pic>
          <p:nvPicPr>
            <p:cNvPr id="486" name="Imagen 174">
              <a:extLst>
                <a:ext uri="{FF2B5EF4-FFF2-40B4-BE49-F238E27FC236}">
                  <a16:creationId xmlns:a16="http://schemas.microsoft.com/office/drawing/2014/main" id="{D8B38A33-FDF5-E934-DD06-9FD0263128C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903229" y="1180256"/>
              <a:ext cx="160971" cy="160971"/>
            </a:xfrm>
            <a:prstGeom prst="rect">
              <a:avLst/>
            </a:prstGeom>
          </p:spPr>
        </p:pic>
        <p:pic>
          <p:nvPicPr>
            <p:cNvPr id="487" name="Imagen 223" descr="Imagen que contiene objeto, kit de primeros auxilios, cosa&#10;&#10;Descripción generada con confianza muy alta">
              <a:extLst>
                <a:ext uri="{FF2B5EF4-FFF2-40B4-BE49-F238E27FC236}">
                  <a16:creationId xmlns:a16="http://schemas.microsoft.com/office/drawing/2014/main" id="{3A25B354-557B-D78B-3330-045882F1D9B5}"/>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694947" y="1180256"/>
              <a:ext cx="164592" cy="164592"/>
            </a:xfrm>
            <a:prstGeom prst="rect">
              <a:avLst/>
            </a:prstGeom>
          </p:spPr>
        </p:pic>
        <p:pic>
          <p:nvPicPr>
            <p:cNvPr id="488" name="Picture 2">
              <a:extLst>
                <a:ext uri="{FF2B5EF4-FFF2-40B4-BE49-F238E27FC236}">
                  <a16:creationId xmlns:a16="http://schemas.microsoft.com/office/drawing/2014/main" id="{7B632F61-2E80-A7F8-0D4C-7FCC11D08BA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075625" y="1503336"/>
              <a:ext cx="833966" cy="196648"/>
            </a:xfrm>
            <a:prstGeom prst="rect">
              <a:avLst/>
            </a:prstGeom>
            <a:noFill/>
            <a:extLst>
              <a:ext uri="{909E8E84-426E-40DD-AFC4-6F175D3DCCD1}">
                <a14:hiddenFill xmlns:a14="http://schemas.microsoft.com/office/drawing/2010/main">
                  <a:solidFill>
                    <a:srgbClr val="FFFFFF"/>
                  </a:solidFill>
                </a14:hiddenFill>
              </a:ext>
            </a:extLst>
          </p:spPr>
        </p:pic>
        <p:pic>
          <p:nvPicPr>
            <p:cNvPr id="490" name="Picture 4">
              <a:extLst>
                <a:ext uri="{FF2B5EF4-FFF2-40B4-BE49-F238E27FC236}">
                  <a16:creationId xmlns:a16="http://schemas.microsoft.com/office/drawing/2014/main" id="{BD27637E-46D4-422A-9EA0-A896F6E146D5}"/>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37330" y="1987720"/>
              <a:ext cx="910557" cy="1324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2" name="Group 491">
            <a:extLst>
              <a:ext uri="{FF2B5EF4-FFF2-40B4-BE49-F238E27FC236}">
                <a16:creationId xmlns:a16="http://schemas.microsoft.com/office/drawing/2014/main" id="{FF94E571-2030-BB19-BE37-963C284D0939}"/>
              </a:ext>
            </a:extLst>
          </p:cNvPr>
          <p:cNvGrpSpPr>
            <a:grpSpLocks noChangeAspect="1"/>
          </p:cNvGrpSpPr>
          <p:nvPr/>
        </p:nvGrpSpPr>
        <p:grpSpPr>
          <a:xfrm>
            <a:off x="3246079" y="1327685"/>
            <a:ext cx="1280160" cy="1508427"/>
            <a:chOff x="3288033" y="1141117"/>
            <a:chExt cx="1280160" cy="1508427"/>
          </a:xfrm>
        </p:grpSpPr>
        <p:sp>
          <p:nvSpPr>
            <p:cNvPr id="493" name="Rectangle 492">
              <a:extLst>
                <a:ext uri="{FF2B5EF4-FFF2-40B4-BE49-F238E27FC236}">
                  <a16:creationId xmlns:a16="http://schemas.microsoft.com/office/drawing/2014/main" id="{1D91029D-51E3-C1E1-F973-E589DB9A0D84}"/>
                </a:ext>
              </a:extLst>
            </p:cNvPr>
            <p:cNvSpPr>
              <a:spLocks noChangeAspect="1"/>
            </p:cNvSpPr>
            <p:nvPr/>
          </p:nvSpPr>
          <p:spPr>
            <a:xfrm>
              <a:off x="3288894" y="1141117"/>
              <a:ext cx="1278438" cy="1508427"/>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Deal type">
              <a:extLst>
                <a:ext uri="{FF2B5EF4-FFF2-40B4-BE49-F238E27FC236}">
                  <a16:creationId xmlns:a16="http://schemas.microsoft.com/office/drawing/2014/main" id="{6DDA45FD-29A4-FA44-92DE-3E3B08224A10}"/>
                </a:ext>
              </a:extLst>
            </p:cNvPr>
            <p:cNvSpPr txBox="1">
              <a:spLocks/>
            </p:cNvSpPr>
            <p:nvPr/>
          </p:nvSpPr>
          <p:spPr>
            <a:xfrm>
              <a:off x="3288033" y="2308380"/>
              <a:ext cx="1280160"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Labguru</a:t>
              </a:r>
              <a:r>
                <a:rPr lang="en-US" sz="800"/>
                <a:t> on its sale to Titian Software</a:t>
              </a:r>
            </a:p>
          </p:txBody>
        </p:sp>
        <p:pic>
          <p:nvPicPr>
            <p:cNvPr id="495" name="Picture 2" descr="Become a Smart Laboratory with 5 Labguru Products &amp; Solutions">
              <a:extLst>
                <a:ext uri="{FF2B5EF4-FFF2-40B4-BE49-F238E27FC236}">
                  <a16:creationId xmlns:a16="http://schemas.microsoft.com/office/drawing/2014/main" id="{6EC0BF28-88FA-9A4E-C378-6FA6931EA71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588147" y="1495584"/>
              <a:ext cx="679933" cy="212153"/>
            </a:xfrm>
            <a:prstGeom prst="rect">
              <a:avLst/>
            </a:prstGeom>
            <a:noFill/>
            <a:extLst>
              <a:ext uri="{909E8E84-426E-40DD-AFC4-6F175D3DCCD1}">
                <a14:hiddenFill xmlns:a14="http://schemas.microsoft.com/office/drawing/2010/main">
                  <a:solidFill>
                    <a:srgbClr val="FFFFFF"/>
                  </a:solidFill>
                </a14:hiddenFill>
              </a:ext>
            </a:extLst>
          </p:spPr>
        </p:pic>
        <p:grpSp>
          <p:nvGrpSpPr>
            <p:cNvPr id="497" name="Group 496">
              <a:extLst>
                <a:ext uri="{FF2B5EF4-FFF2-40B4-BE49-F238E27FC236}">
                  <a16:creationId xmlns:a16="http://schemas.microsoft.com/office/drawing/2014/main" id="{F67ECAD3-40A9-8CE5-AC80-E4C8DFD9B27F}"/>
                </a:ext>
              </a:extLst>
            </p:cNvPr>
            <p:cNvGrpSpPr/>
            <p:nvPr/>
          </p:nvGrpSpPr>
          <p:grpSpPr>
            <a:xfrm>
              <a:off x="3548644" y="1884804"/>
              <a:ext cx="758938" cy="359937"/>
              <a:chOff x="9313690" y="1884804"/>
              <a:chExt cx="758938" cy="359937"/>
            </a:xfrm>
          </p:grpSpPr>
          <p:pic>
            <p:nvPicPr>
              <p:cNvPr id="502" name="Picture 82" descr="Battery Ventures - Crunchbase Investor Profile &amp;amp; Investments">
                <a:extLst>
                  <a:ext uri="{FF2B5EF4-FFF2-40B4-BE49-F238E27FC236}">
                    <a16:creationId xmlns:a16="http://schemas.microsoft.com/office/drawing/2014/main" id="{28AC0D30-F253-D138-8742-8AA5F534E80B}"/>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t="40012" b="35988"/>
              <a:stretch/>
            </p:blipFill>
            <p:spPr bwMode="auto">
              <a:xfrm>
                <a:off x="9415005" y="2111226"/>
                <a:ext cx="556309" cy="133515"/>
              </a:xfrm>
              <a:prstGeom prst="rect">
                <a:avLst/>
              </a:prstGeom>
              <a:noFill/>
              <a:extLst>
                <a:ext uri="{909E8E84-426E-40DD-AFC4-6F175D3DCCD1}">
                  <a14:hiddenFill xmlns:a14="http://schemas.microsoft.com/office/drawing/2010/main">
                    <a:solidFill>
                      <a:srgbClr val="FFFFFF"/>
                    </a:solidFill>
                  </a14:hiddenFill>
                </a:ext>
              </a:extLst>
            </p:spPr>
          </p:pic>
          <p:pic>
            <p:nvPicPr>
              <p:cNvPr id="503" name="Picture 502" descr="Titian Software | Laboratory Sample Management Software">
                <a:extLst>
                  <a:ext uri="{FF2B5EF4-FFF2-40B4-BE49-F238E27FC236}">
                    <a16:creationId xmlns:a16="http://schemas.microsoft.com/office/drawing/2014/main" id="{A87919CC-5238-12BB-4CF4-D5BECE12CB1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313690" y="1884804"/>
                <a:ext cx="758938" cy="195302"/>
              </a:xfrm>
              <a:prstGeom prst="rect">
                <a:avLst/>
              </a:prstGeom>
              <a:noFill/>
              <a:extLst>
                <a:ext uri="{909E8E84-426E-40DD-AFC4-6F175D3DCCD1}">
                  <a14:hiddenFill xmlns:a14="http://schemas.microsoft.com/office/drawing/2010/main">
                    <a:solidFill>
                      <a:srgbClr val="FFFFFF"/>
                    </a:solidFill>
                  </a14:hiddenFill>
                </a:ext>
              </a:extLst>
            </p:spPr>
          </p:pic>
        </p:grpSp>
        <p:sp>
          <p:nvSpPr>
            <p:cNvPr id="498" name="Flag_1">
              <a:extLst>
                <a:ext uri="{FF2B5EF4-FFF2-40B4-BE49-F238E27FC236}">
                  <a16:creationId xmlns:a16="http://schemas.microsoft.com/office/drawing/2014/main" id="{57058355-3FA6-12D5-2195-DE3BA9CBF341}"/>
                </a:ext>
              </a:extLst>
            </p:cNvPr>
            <p:cNvSpPr txBox="1">
              <a:spLocks noChangeAspect="1"/>
            </p:cNvSpPr>
            <p:nvPr/>
          </p:nvSpPr>
          <p:spPr>
            <a:xfrm>
              <a:off x="4340332" y="1180255"/>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grpSp>
        <p:nvGrpSpPr>
          <p:cNvPr id="504" name="Group 503">
            <a:extLst>
              <a:ext uri="{FF2B5EF4-FFF2-40B4-BE49-F238E27FC236}">
                <a16:creationId xmlns:a16="http://schemas.microsoft.com/office/drawing/2014/main" id="{B7A4BE24-644C-DB3B-084A-F21EC77312D8}"/>
              </a:ext>
            </a:extLst>
          </p:cNvPr>
          <p:cNvGrpSpPr>
            <a:grpSpLocks noChangeAspect="1"/>
          </p:cNvGrpSpPr>
          <p:nvPr/>
        </p:nvGrpSpPr>
        <p:grpSpPr>
          <a:xfrm>
            <a:off x="4686596" y="1327685"/>
            <a:ext cx="1280160" cy="1508427"/>
            <a:chOff x="4722680" y="1141117"/>
            <a:chExt cx="1280160" cy="1508427"/>
          </a:xfrm>
        </p:grpSpPr>
        <p:sp>
          <p:nvSpPr>
            <p:cNvPr id="505" name="Rectangle 504">
              <a:extLst>
                <a:ext uri="{FF2B5EF4-FFF2-40B4-BE49-F238E27FC236}">
                  <a16:creationId xmlns:a16="http://schemas.microsoft.com/office/drawing/2014/main" id="{F0A4C25D-7111-4FE3-84BB-3522E52CA04A}"/>
                </a:ext>
              </a:extLst>
            </p:cNvPr>
            <p:cNvSpPr>
              <a:spLocks noChangeAspect="1"/>
            </p:cNvSpPr>
            <p:nvPr/>
          </p:nvSpPr>
          <p:spPr>
            <a:xfrm>
              <a:off x="4723541" y="1141117"/>
              <a:ext cx="1278438" cy="1508427"/>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6" name="Deal type">
              <a:extLst>
                <a:ext uri="{FF2B5EF4-FFF2-40B4-BE49-F238E27FC236}">
                  <a16:creationId xmlns:a16="http://schemas.microsoft.com/office/drawing/2014/main" id="{69F35DCA-4AA5-653E-0394-C0CD6A623EF4}"/>
                </a:ext>
              </a:extLst>
            </p:cNvPr>
            <p:cNvSpPr txBox="1">
              <a:spLocks/>
            </p:cNvSpPr>
            <p:nvPr/>
          </p:nvSpPr>
          <p:spPr>
            <a:xfrm>
              <a:off x="4722680" y="2308380"/>
              <a:ext cx="1280160"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Blackford Analysis on its sale to Bayer</a:t>
              </a:r>
            </a:p>
          </p:txBody>
        </p:sp>
        <p:sp>
          <p:nvSpPr>
            <p:cNvPr id="507" name="Flag_1">
              <a:extLst>
                <a:ext uri="{FF2B5EF4-FFF2-40B4-BE49-F238E27FC236}">
                  <a16:creationId xmlns:a16="http://schemas.microsoft.com/office/drawing/2014/main" id="{45825220-1EAD-8A30-8A04-AA7FB7AD85AD}"/>
                </a:ext>
              </a:extLst>
            </p:cNvPr>
            <p:cNvSpPr txBox="1">
              <a:spLocks noChangeAspect="1"/>
            </p:cNvSpPr>
            <p:nvPr/>
          </p:nvSpPr>
          <p:spPr>
            <a:xfrm>
              <a:off x="5366032" y="1181378"/>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508" name="Imagen 174">
              <a:extLst>
                <a:ext uri="{FF2B5EF4-FFF2-40B4-BE49-F238E27FC236}">
                  <a16:creationId xmlns:a16="http://schemas.microsoft.com/office/drawing/2014/main" id="{59B7F474-74F4-691F-83D5-1C99E513D6C0}"/>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570695" y="1181378"/>
              <a:ext cx="160971" cy="160971"/>
            </a:xfrm>
            <a:prstGeom prst="rect">
              <a:avLst/>
            </a:prstGeom>
          </p:spPr>
        </p:pic>
        <p:pic>
          <p:nvPicPr>
            <p:cNvPr id="510" name="Imagen 255">
              <a:extLst>
                <a:ext uri="{FF2B5EF4-FFF2-40B4-BE49-F238E27FC236}">
                  <a16:creationId xmlns:a16="http://schemas.microsoft.com/office/drawing/2014/main" id="{EAFF390B-FD54-4B57-467F-B51A020C543A}"/>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780206" y="1187439"/>
              <a:ext cx="150040" cy="149554"/>
            </a:xfrm>
            <a:prstGeom prst="rect">
              <a:avLst/>
            </a:prstGeom>
          </p:spPr>
        </p:pic>
        <p:pic>
          <p:nvPicPr>
            <p:cNvPr id="511" name="Picture 510">
              <a:extLst>
                <a:ext uri="{FF2B5EF4-FFF2-40B4-BE49-F238E27FC236}">
                  <a16:creationId xmlns:a16="http://schemas.microsoft.com/office/drawing/2014/main" id="{8FC880F2-EB08-97EC-D1FD-5ACDB581FCB3}"/>
                </a:ext>
              </a:extLst>
            </p:cNvPr>
            <p:cNvPicPr>
              <a:picLocks noChangeAspect="1"/>
            </p:cNvPicPr>
            <p:nvPr/>
          </p:nvPicPr>
          <p:blipFill>
            <a:blip r:embed="rId24"/>
            <a:stretch>
              <a:fillRect/>
            </a:stretch>
          </p:blipFill>
          <p:spPr>
            <a:xfrm>
              <a:off x="5013659" y="1512014"/>
              <a:ext cx="698203" cy="179293"/>
            </a:xfrm>
            <a:prstGeom prst="rect">
              <a:avLst/>
            </a:prstGeom>
          </p:spPr>
        </p:pic>
        <p:pic>
          <p:nvPicPr>
            <p:cNvPr id="64" name="Picture 63">
              <a:extLst>
                <a:ext uri="{FF2B5EF4-FFF2-40B4-BE49-F238E27FC236}">
                  <a16:creationId xmlns:a16="http://schemas.microsoft.com/office/drawing/2014/main" id="{FAEB4499-FD44-40AA-7EDF-59B133F12D52}"/>
                </a:ext>
              </a:extLst>
            </p:cNvPr>
            <p:cNvPicPr>
              <a:picLocks noChangeAspect="1"/>
            </p:cNvPicPr>
            <p:nvPr/>
          </p:nvPicPr>
          <p:blipFill>
            <a:blip r:embed="rId25"/>
            <a:stretch>
              <a:fillRect/>
            </a:stretch>
          </p:blipFill>
          <p:spPr>
            <a:xfrm>
              <a:off x="5204698" y="1911412"/>
              <a:ext cx="316124" cy="316124"/>
            </a:xfrm>
            <a:prstGeom prst="rect">
              <a:avLst/>
            </a:prstGeom>
          </p:spPr>
        </p:pic>
      </p:grpSp>
      <p:grpSp>
        <p:nvGrpSpPr>
          <p:cNvPr id="65" name="Group 64">
            <a:extLst>
              <a:ext uri="{FF2B5EF4-FFF2-40B4-BE49-F238E27FC236}">
                <a16:creationId xmlns:a16="http://schemas.microsoft.com/office/drawing/2014/main" id="{8AA49247-901E-9000-45DC-8977FEADA0BA}"/>
              </a:ext>
            </a:extLst>
          </p:cNvPr>
          <p:cNvGrpSpPr>
            <a:grpSpLocks noChangeAspect="1"/>
          </p:cNvGrpSpPr>
          <p:nvPr/>
        </p:nvGrpSpPr>
        <p:grpSpPr>
          <a:xfrm>
            <a:off x="4668295" y="2949550"/>
            <a:ext cx="1276006" cy="1508426"/>
            <a:chOff x="419100" y="2936751"/>
            <a:chExt cx="1276006" cy="1508426"/>
          </a:xfrm>
        </p:grpSpPr>
        <p:sp>
          <p:nvSpPr>
            <p:cNvPr id="67" name="Rectangle 66">
              <a:extLst>
                <a:ext uri="{FF2B5EF4-FFF2-40B4-BE49-F238E27FC236}">
                  <a16:creationId xmlns:a16="http://schemas.microsoft.com/office/drawing/2014/main" id="{47D43910-C12B-FF52-F3AB-5C9B0BA5A631}"/>
                </a:ext>
              </a:extLst>
            </p:cNvPr>
            <p:cNvSpPr>
              <a:spLocks noChangeAspect="1"/>
            </p:cNvSpPr>
            <p:nvPr/>
          </p:nvSpPr>
          <p:spPr>
            <a:xfrm>
              <a:off x="419958" y="2936751"/>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Deal type">
              <a:extLst>
                <a:ext uri="{FF2B5EF4-FFF2-40B4-BE49-F238E27FC236}">
                  <a16:creationId xmlns:a16="http://schemas.microsoft.com/office/drawing/2014/main" id="{C4AC1612-DDB5-9393-31CF-9F3CAFDC6CFC}"/>
                </a:ext>
              </a:extLst>
            </p:cNvPr>
            <p:cNvSpPr txBox="1">
              <a:spLocks/>
            </p:cNvSpPr>
            <p:nvPr/>
          </p:nvSpPr>
          <p:spPr>
            <a:xfrm>
              <a:off x="419100" y="4104013"/>
              <a:ext cx="1276006" cy="336142"/>
            </a:xfrm>
            <a:prstGeom prst="rect">
              <a:avLst/>
            </a:prstGeom>
            <a:ln>
              <a:noFill/>
            </a:ln>
          </p:spPr>
          <p:txBody>
            <a:bodyPr vert="horz" wrap="square" lIns="36576" tIns="0" rIns="36576" bIns="64008" rtlCol="0" anchor="b">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CareCloud</a:t>
              </a:r>
              <a:r>
                <a:rPr lang="en-US" sz="800"/>
                <a:t> on the acquisition of </a:t>
              </a:r>
              <a:r>
                <a:rPr lang="en-US" sz="800" err="1"/>
                <a:t>Medmatica</a:t>
              </a:r>
              <a:endParaRPr lang="en-US" sz="800"/>
            </a:p>
          </p:txBody>
        </p:sp>
        <p:sp>
          <p:nvSpPr>
            <p:cNvPr id="69" name="Flag_1">
              <a:extLst>
                <a:ext uri="{FF2B5EF4-FFF2-40B4-BE49-F238E27FC236}">
                  <a16:creationId xmlns:a16="http://schemas.microsoft.com/office/drawing/2014/main" id="{04DD49AB-3E88-3E73-3602-30938A535983}"/>
                </a:ext>
              </a:extLst>
            </p:cNvPr>
            <p:cNvSpPr txBox="1">
              <a:spLocks noChangeAspect="1"/>
            </p:cNvSpPr>
            <p:nvPr/>
          </p:nvSpPr>
          <p:spPr>
            <a:xfrm>
              <a:off x="1475311" y="2974162"/>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0" name="Picture 69">
              <a:extLst>
                <a:ext uri="{FF2B5EF4-FFF2-40B4-BE49-F238E27FC236}">
                  <a16:creationId xmlns:a16="http://schemas.microsoft.com/office/drawing/2014/main" id="{78792A70-EAFD-B9A1-25AC-984876568392}"/>
                </a:ext>
              </a:extLst>
            </p:cNvPr>
            <p:cNvPicPr>
              <a:picLocks noChangeAspect="1"/>
            </p:cNvPicPr>
            <p:nvPr/>
          </p:nvPicPr>
          <p:blipFill rotWithShape="1">
            <a:blip r:embed="rId26">
              <a:extLst>
                <a:ext uri="{28A0092B-C50C-407E-A947-70E740481C1C}">
                  <a14:useLocalDpi xmlns:a14="http://schemas.microsoft.com/office/drawing/2010/main" val="0"/>
                </a:ext>
              </a:extLst>
            </a:blip>
            <a:srcRect t="-1839" b="2660"/>
            <a:stretch/>
          </p:blipFill>
          <p:spPr>
            <a:xfrm>
              <a:off x="811363" y="3597913"/>
              <a:ext cx="491481" cy="487457"/>
            </a:xfrm>
            <a:prstGeom prst="rect">
              <a:avLst/>
            </a:prstGeom>
          </p:spPr>
        </p:pic>
        <p:pic>
          <p:nvPicPr>
            <p:cNvPr id="71" name="Picture 70">
              <a:extLst>
                <a:ext uri="{FF2B5EF4-FFF2-40B4-BE49-F238E27FC236}">
                  <a16:creationId xmlns:a16="http://schemas.microsoft.com/office/drawing/2014/main" id="{21CFC1EB-0D36-9955-DC38-023E728CE296}"/>
                </a:ext>
              </a:extLst>
            </p:cNvPr>
            <p:cNvPicPr>
              <a:picLocks noChangeAspect="1"/>
            </p:cNvPicPr>
            <p:nvPr/>
          </p:nvPicPr>
          <p:blipFill rotWithShape="1">
            <a:blip r:embed="rId27">
              <a:extLst>
                <a:ext uri="{28A0092B-C50C-407E-A947-70E740481C1C}">
                  <a14:useLocalDpi xmlns:a14="http://schemas.microsoft.com/office/drawing/2010/main" val="0"/>
                </a:ext>
              </a:extLst>
            </a:blip>
            <a:srcRect l="-3839" t="-7840" r="-3255" b="-17151"/>
            <a:stretch/>
          </p:blipFill>
          <p:spPr>
            <a:xfrm>
              <a:off x="624312" y="3229000"/>
              <a:ext cx="865583" cy="266586"/>
            </a:xfrm>
            <a:prstGeom prst="rect">
              <a:avLst/>
            </a:prstGeom>
          </p:spPr>
        </p:pic>
      </p:grpSp>
      <p:grpSp>
        <p:nvGrpSpPr>
          <p:cNvPr id="72" name="Group 71">
            <a:extLst>
              <a:ext uri="{FF2B5EF4-FFF2-40B4-BE49-F238E27FC236}">
                <a16:creationId xmlns:a16="http://schemas.microsoft.com/office/drawing/2014/main" id="{65387424-1994-2EC1-38A1-49A096D8A4C6}"/>
              </a:ext>
            </a:extLst>
          </p:cNvPr>
          <p:cNvGrpSpPr>
            <a:grpSpLocks noChangeAspect="1"/>
          </p:cNvGrpSpPr>
          <p:nvPr/>
        </p:nvGrpSpPr>
        <p:grpSpPr>
          <a:xfrm>
            <a:off x="406868" y="4593094"/>
            <a:ext cx="1276006" cy="1508426"/>
            <a:chOff x="1854605" y="2936751"/>
            <a:chExt cx="1276006" cy="1508426"/>
          </a:xfrm>
        </p:grpSpPr>
        <p:sp>
          <p:nvSpPr>
            <p:cNvPr id="73" name="Rectangle 72">
              <a:extLst>
                <a:ext uri="{FF2B5EF4-FFF2-40B4-BE49-F238E27FC236}">
                  <a16:creationId xmlns:a16="http://schemas.microsoft.com/office/drawing/2014/main" id="{B2E87B90-C4F4-BC97-6821-5115F6F2D7FD}"/>
                </a:ext>
              </a:extLst>
            </p:cNvPr>
            <p:cNvSpPr>
              <a:spLocks noChangeAspect="1"/>
            </p:cNvSpPr>
            <p:nvPr/>
          </p:nvSpPr>
          <p:spPr>
            <a:xfrm>
              <a:off x="1855463" y="2936751"/>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Deal type">
              <a:extLst>
                <a:ext uri="{FF2B5EF4-FFF2-40B4-BE49-F238E27FC236}">
                  <a16:creationId xmlns:a16="http://schemas.microsoft.com/office/drawing/2014/main" id="{43E6ABA1-7803-4E8A-7943-FB4E1EB4C4E8}"/>
                </a:ext>
              </a:extLst>
            </p:cNvPr>
            <p:cNvSpPr txBox="1">
              <a:spLocks/>
            </p:cNvSpPr>
            <p:nvPr/>
          </p:nvSpPr>
          <p:spPr>
            <a:xfrm>
              <a:off x="1854605" y="4104013"/>
              <a:ext cx="1276006" cy="336142"/>
            </a:xfrm>
            <a:prstGeom prst="rect">
              <a:avLst/>
            </a:prstGeom>
            <a:ln>
              <a:noFill/>
            </a:ln>
          </p:spPr>
          <p:txBody>
            <a:bodyPr vert="horz" wrap="square" lIns="36576" tIns="0" rIns="36576" bIns="64008" rtlCol="0" anchor="b">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MTBC on the  </a:t>
              </a:r>
            </a:p>
            <a:p>
              <a:pPr algn="ctr"/>
              <a:r>
                <a:rPr lang="en-US" sz="800"/>
                <a:t>acquisition of </a:t>
              </a:r>
              <a:r>
                <a:rPr lang="en-US" sz="800" err="1"/>
                <a:t>CareCloud</a:t>
              </a:r>
              <a:endParaRPr lang="en-US" sz="800"/>
            </a:p>
          </p:txBody>
        </p:sp>
        <p:sp>
          <p:nvSpPr>
            <p:cNvPr id="75" name="Flag_1">
              <a:extLst>
                <a:ext uri="{FF2B5EF4-FFF2-40B4-BE49-F238E27FC236}">
                  <a16:creationId xmlns:a16="http://schemas.microsoft.com/office/drawing/2014/main" id="{462BD32D-BE12-8992-D09D-B3ADDB2A3505}"/>
                </a:ext>
              </a:extLst>
            </p:cNvPr>
            <p:cNvSpPr txBox="1">
              <a:spLocks noChangeAspect="1"/>
            </p:cNvSpPr>
            <p:nvPr/>
          </p:nvSpPr>
          <p:spPr>
            <a:xfrm>
              <a:off x="2903240" y="2978432"/>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7" name="Picture 76">
              <a:extLst>
                <a:ext uri="{FF2B5EF4-FFF2-40B4-BE49-F238E27FC236}">
                  <a16:creationId xmlns:a16="http://schemas.microsoft.com/office/drawing/2014/main" id="{55E535BB-D640-E42D-5869-36CC9A8E7F55}"/>
                </a:ext>
              </a:extLst>
            </p:cNvPr>
            <p:cNvPicPr>
              <a:picLocks noChangeAspect="1"/>
            </p:cNvPicPr>
            <p:nvPr/>
          </p:nvPicPr>
          <p:blipFill rotWithShape="1">
            <a:blip r:embed="rId28">
              <a:extLst>
                <a:ext uri="{28A0092B-C50C-407E-A947-70E740481C1C}">
                  <a14:useLocalDpi xmlns:a14="http://schemas.microsoft.com/office/drawing/2010/main" val="0"/>
                </a:ext>
              </a:extLst>
            </a:blip>
            <a:srcRect t="-4051" b="-3712"/>
            <a:stretch/>
          </p:blipFill>
          <p:spPr>
            <a:xfrm>
              <a:off x="2310608" y="3174598"/>
              <a:ext cx="368854" cy="408865"/>
            </a:xfrm>
            <a:prstGeom prst="rect">
              <a:avLst/>
            </a:prstGeom>
          </p:spPr>
        </p:pic>
        <p:pic>
          <p:nvPicPr>
            <p:cNvPr id="79" name="Picture 78">
              <a:extLst>
                <a:ext uri="{FF2B5EF4-FFF2-40B4-BE49-F238E27FC236}">
                  <a16:creationId xmlns:a16="http://schemas.microsoft.com/office/drawing/2014/main" id="{FCF82A37-2058-9BE8-330B-3B4859B34E81}"/>
                </a:ext>
              </a:extLst>
            </p:cNvPr>
            <p:cNvPicPr>
              <a:picLocks noChangeAspect="1"/>
            </p:cNvPicPr>
            <p:nvPr/>
          </p:nvPicPr>
          <p:blipFill rotWithShape="1">
            <a:blip r:embed="rId27">
              <a:extLst>
                <a:ext uri="{28A0092B-C50C-407E-A947-70E740481C1C}">
                  <a14:useLocalDpi xmlns:a14="http://schemas.microsoft.com/office/drawing/2010/main" val="0"/>
                </a:ext>
              </a:extLst>
            </a:blip>
            <a:srcRect l="-3839" t="-7840" r="-3255" b="-17151"/>
            <a:stretch/>
          </p:blipFill>
          <p:spPr>
            <a:xfrm>
              <a:off x="2059817" y="3713129"/>
              <a:ext cx="865583" cy="266586"/>
            </a:xfrm>
            <a:prstGeom prst="rect">
              <a:avLst/>
            </a:prstGeom>
          </p:spPr>
        </p:pic>
      </p:grpSp>
      <p:grpSp>
        <p:nvGrpSpPr>
          <p:cNvPr id="80" name="Group 79">
            <a:extLst>
              <a:ext uri="{FF2B5EF4-FFF2-40B4-BE49-F238E27FC236}">
                <a16:creationId xmlns:a16="http://schemas.microsoft.com/office/drawing/2014/main" id="{6B80F392-30BC-6509-758A-4A338BE16CAE}"/>
              </a:ext>
            </a:extLst>
          </p:cNvPr>
          <p:cNvGrpSpPr>
            <a:grpSpLocks noChangeAspect="1"/>
          </p:cNvGrpSpPr>
          <p:nvPr/>
        </p:nvGrpSpPr>
        <p:grpSpPr>
          <a:xfrm>
            <a:off x="6089443" y="2947330"/>
            <a:ext cx="1276006" cy="1508426"/>
            <a:chOff x="3290110" y="2936751"/>
            <a:chExt cx="1276006" cy="1508426"/>
          </a:xfrm>
        </p:grpSpPr>
        <p:sp>
          <p:nvSpPr>
            <p:cNvPr id="81" name="Rectangle 80">
              <a:extLst>
                <a:ext uri="{FF2B5EF4-FFF2-40B4-BE49-F238E27FC236}">
                  <a16:creationId xmlns:a16="http://schemas.microsoft.com/office/drawing/2014/main" id="{0E7E77AC-1C59-D50A-39C3-6901130EC2F7}"/>
                </a:ext>
              </a:extLst>
            </p:cNvPr>
            <p:cNvSpPr>
              <a:spLocks noChangeAspect="1"/>
            </p:cNvSpPr>
            <p:nvPr/>
          </p:nvSpPr>
          <p:spPr>
            <a:xfrm>
              <a:off x="3290968" y="2936751"/>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Deal type">
              <a:extLst>
                <a:ext uri="{FF2B5EF4-FFF2-40B4-BE49-F238E27FC236}">
                  <a16:creationId xmlns:a16="http://schemas.microsoft.com/office/drawing/2014/main" id="{436522C7-CC7A-53DF-365A-2317DC4FAAD8}"/>
                </a:ext>
              </a:extLst>
            </p:cNvPr>
            <p:cNvSpPr txBox="1">
              <a:spLocks/>
            </p:cNvSpPr>
            <p:nvPr/>
          </p:nvSpPr>
          <p:spPr>
            <a:xfrm>
              <a:off x="3290110" y="4104013"/>
              <a:ext cx="1276006" cy="336142"/>
            </a:xfrm>
            <a:prstGeom prst="rect">
              <a:avLst/>
            </a:prstGeom>
            <a:ln>
              <a:noFill/>
            </a:ln>
          </p:spPr>
          <p:txBody>
            <a:bodyPr vert="horz" wrap="square" lIns="36576" tIns="0" rIns="36576" bIns="64008" rtlCol="0" anchor="b">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MTBC on the acquisition of Meridian</a:t>
              </a:r>
            </a:p>
          </p:txBody>
        </p:sp>
        <p:sp>
          <p:nvSpPr>
            <p:cNvPr id="83" name="Flag_1">
              <a:extLst>
                <a:ext uri="{FF2B5EF4-FFF2-40B4-BE49-F238E27FC236}">
                  <a16:creationId xmlns:a16="http://schemas.microsoft.com/office/drawing/2014/main" id="{1157EC50-5361-2293-0EAB-D4CF9F5CF6FE}"/>
                </a:ext>
              </a:extLst>
            </p:cNvPr>
            <p:cNvSpPr txBox="1">
              <a:spLocks noChangeAspect="1"/>
            </p:cNvSpPr>
            <p:nvPr/>
          </p:nvSpPr>
          <p:spPr>
            <a:xfrm>
              <a:off x="4338734" y="2975890"/>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85" name="Picture 84">
              <a:extLst>
                <a:ext uri="{FF2B5EF4-FFF2-40B4-BE49-F238E27FC236}">
                  <a16:creationId xmlns:a16="http://schemas.microsoft.com/office/drawing/2014/main" id="{81215EBD-9FFC-9916-2AC5-7B7772DE6248}"/>
                </a:ext>
              </a:extLst>
            </p:cNvPr>
            <p:cNvPicPr>
              <a:picLocks noChangeAspect="1"/>
            </p:cNvPicPr>
            <p:nvPr/>
          </p:nvPicPr>
          <p:blipFill rotWithShape="1">
            <a:blip r:embed="rId29">
              <a:extLst>
                <a:ext uri="{28A0092B-C50C-407E-A947-70E740481C1C}">
                  <a14:useLocalDpi xmlns:a14="http://schemas.microsoft.com/office/drawing/2010/main" val="0"/>
                </a:ext>
              </a:extLst>
            </a:blip>
            <a:srcRect l="-5214" t="32" r="-6881"/>
            <a:stretch/>
          </p:blipFill>
          <p:spPr>
            <a:xfrm>
              <a:off x="3417717" y="3733516"/>
              <a:ext cx="1020792" cy="225812"/>
            </a:xfrm>
            <a:prstGeom prst="rect">
              <a:avLst/>
            </a:prstGeom>
          </p:spPr>
        </p:pic>
        <p:pic>
          <p:nvPicPr>
            <p:cNvPr id="86" name="Picture 85">
              <a:extLst>
                <a:ext uri="{FF2B5EF4-FFF2-40B4-BE49-F238E27FC236}">
                  <a16:creationId xmlns:a16="http://schemas.microsoft.com/office/drawing/2014/main" id="{2CBA661E-808B-7A71-7B9B-76C300EA5B45}"/>
                </a:ext>
              </a:extLst>
            </p:cNvPr>
            <p:cNvPicPr>
              <a:picLocks noChangeAspect="1"/>
            </p:cNvPicPr>
            <p:nvPr/>
          </p:nvPicPr>
          <p:blipFill rotWithShape="1">
            <a:blip r:embed="rId28">
              <a:extLst>
                <a:ext uri="{28A0092B-C50C-407E-A947-70E740481C1C}">
                  <a14:useLocalDpi xmlns:a14="http://schemas.microsoft.com/office/drawing/2010/main" val="0"/>
                </a:ext>
              </a:extLst>
            </a:blip>
            <a:srcRect t="-4051" b="-3712"/>
            <a:stretch/>
          </p:blipFill>
          <p:spPr>
            <a:xfrm>
              <a:off x="3743686" y="3174598"/>
              <a:ext cx="368854" cy="408865"/>
            </a:xfrm>
            <a:prstGeom prst="rect">
              <a:avLst/>
            </a:prstGeom>
          </p:spPr>
        </p:pic>
      </p:grpSp>
      <p:grpSp>
        <p:nvGrpSpPr>
          <p:cNvPr id="88" name="Group 87">
            <a:extLst>
              <a:ext uri="{FF2B5EF4-FFF2-40B4-BE49-F238E27FC236}">
                <a16:creationId xmlns:a16="http://schemas.microsoft.com/office/drawing/2014/main" id="{DF7A94BF-8536-C76C-210F-AB59698BE91E}"/>
              </a:ext>
            </a:extLst>
          </p:cNvPr>
          <p:cNvGrpSpPr>
            <a:grpSpLocks noChangeAspect="1"/>
          </p:cNvGrpSpPr>
          <p:nvPr/>
        </p:nvGrpSpPr>
        <p:grpSpPr>
          <a:xfrm>
            <a:off x="1822690" y="4592923"/>
            <a:ext cx="1279561" cy="1508426"/>
            <a:chOff x="4726521" y="2936751"/>
            <a:chExt cx="1279561" cy="1508426"/>
          </a:xfrm>
        </p:grpSpPr>
        <p:sp>
          <p:nvSpPr>
            <p:cNvPr id="91" name="Rectangle 90">
              <a:extLst>
                <a:ext uri="{FF2B5EF4-FFF2-40B4-BE49-F238E27FC236}">
                  <a16:creationId xmlns:a16="http://schemas.microsoft.com/office/drawing/2014/main" id="{96821EB0-B7A7-0545-9CF1-D8F3DAB0CB2C}"/>
                </a:ext>
              </a:extLst>
            </p:cNvPr>
            <p:cNvSpPr>
              <a:spLocks noChangeAspect="1"/>
            </p:cNvSpPr>
            <p:nvPr/>
          </p:nvSpPr>
          <p:spPr>
            <a:xfrm>
              <a:off x="4726521" y="2936751"/>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Deal type">
              <a:extLst>
                <a:ext uri="{FF2B5EF4-FFF2-40B4-BE49-F238E27FC236}">
                  <a16:creationId xmlns:a16="http://schemas.microsoft.com/office/drawing/2014/main" id="{A1442FA4-BC53-50E3-D847-F733283DCD19}"/>
                </a:ext>
              </a:extLst>
            </p:cNvPr>
            <p:cNvSpPr txBox="1">
              <a:spLocks/>
            </p:cNvSpPr>
            <p:nvPr/>
          </p:nvSpPr>
          <p:spPr>
            <a:xfrm>
              <a:off x="4730075" y="4104013"/>
              <a:ext cx="1276007"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UpStream</a:t>
              </a:r>
              <a:r>
                <a:rPr lang="en-US" sz="800"/>
                <a:t> in its minority recap by </a:t>
              </a:r>
              <a:r>
                <a:rPr lang="en-US" sz="800" err="1"/>
                <a:t>Dragoneer</a:t>
              </a:r>
              <a:r>
                <a:rPr lang="en-US" sz="800"/>
                <a:t> Investment Group</a:t>
              </a:r>
            </a:p>
          </p:txBody>
        </p:sp>
        <p:pic>
          <p:nvPicPr>
            <p:cNvPr id="93" name="Picture 4" descr="$1B+ Healthcare Company UpStream Secures $45 Million Funding Round To  Transform Care For Seniors">
              <a:extLst>
                <a:ext uri="{FF2B5EF4-FFF2-40B4-BE49-F238E27FC236}">
                  <a16:creationId xmlns:a16="http://schemas.microsoft.com/office/drawing/2014/main" id="{A2E63F42-0309-5975-AC78-C2DBC80B27C4}"/>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l="6563" t="3828" r="6563" b="6299"/>
            <a:stretch/>
          </p:blipFill>
          <p:spPr bwMode="auto">
            <a:xfrm>
              <a:off x="4998917" y="3524862"/>
              <a:ext cx="738359" cy="400571"/>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 descr="$1B+ Healthcare Company UpStream Secures $45 Million Funding Round To  Transform Care For Seniors">
              <a:extLst>
                <a:ext uri="{FF2B5EF4-FFF2-40B4-BE49-F238E27FC236}">
                  <a16:creationId xmlns:a16="http://schemas.microsoft.com/office/drawing/2014/main" id="{692EC452-DBEE-DBFC-31C0-1C8B777A47A0}"/>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7697" t="24656" r="7697" b="19948"/>
            <a:stretch/>
          </p:blipFill>
          <p:spPr bwMode="auto">
            <a:xfrm>
              <a:off x="4941491" y="3229440"/>
              <a:ext cx="844350" cy="180597"/>
            </a:xfrm>
            <a:prstGeom prst="rect">
              <a:avLst/>
            </a:prstGeom>
            <a:noFill/>
            <a:extLst>
              <a:ext uri="{909E8E84-426E-40DD-AFC4-6F175D3DCCD1}">
                <a14:hiddenFill xmlns:a14="http://schemas.microsoft.com/office/drawing/2010/main">
                  <a:solidFill>
                    <a:srgbClr val="FFFFFF"/>
                  </a:solidFill>
                </a14:hiddenFill>
              </a:ext>
            </a:extLst>
          </p:spPr>
        </p:pic>
        <p:sp>
          <p:nvSpPr>
            <p:cNvPr id="95" name="Flag_1">
              <a:extLst>
                <a:ext uri="{FF2B5EF4-FFF2-40B4-BE49-F238E27FC236}">
                  <a16:creationId xmlns:a16="http://schemas.microsoft.com/office/drawing/2014/main" id="{982220FC-E0D9-22F8-9EF2-10A488845C52}"/>
                </a:ext>
              </a:extLst>
            </p:cNvPr>
            <p:cNvSpPr txBox="1">
              <a:spLocks noChangeAspect="1"/>
            </p:cNvSpPr>
            <p:nvPr/>
          </p:nvSpPr>
          <p:spPr>
            <a:xfrm>
              <a:off x="5778699" y="2975890"/>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grpSp>
        <p:nvGrpSpPr>
          <p:cNvPr id="97" name="Group 96">
            <a:extLst>
              <a:ext uri="{FF2B5EF4-FFF2-40B4-BE49-F238E27FC236}">
                <a16:creationId xmlns:a16="http://schemas.microsoft.com/office/drawing/2014/main" id="{1980AC1C-11AD-0E8F-8E29-7D9445833968}"/>
              </a:ext>
            </a:extLst>
          </p:cNvPr>
          <p:cNvGrpSpPr>
            <a:grpSpLocks noChangeAspect="1"/>
          </p:cNvGrpSpPr>
          <p:nvPr/>
        </p:nvGrpSpPr>
        <p:grpSpPr>
          <a:xfrm>
            <a:off x="4663103" y="4593094"/>
            <a:ext cx="1280160" cy="1508427"/>
            <a:chOff x="7613823" y="2936751"/>
            <a:chExt cx="1280160" cy="1508427"/>
          </a:xfrm>
        </p:grpSpPr>
        <p:sp>
          <p:nvSpPr>
            <p:cNvPr id="100" name="Rectangle 99">
              <a:extLst>
                <a:ext uri="{FF2B5EF4-FFF2-40B4-BE49-F238E27FC236}">
                  <a16:creationId xmlns:a16="http://schemas.microsoft.com/office/drawing/2014/main" id="{4D5EF570-B172-0DC6-C6E6-4472A3ACB3EF}"/>
                </a:ext>
              </a:extLst>
            </p:cNvPr>
            <p:cNvSpPr>
              <a:spLocks noChangeAspect="1"/>
            </p:cNvSpPr>
            <p:nvPr/>
          </p:nvSpPr>
          <p:spPr>
            <a:xfrm>
              <a:off x="7614684" y="2936751"/>
              <a:ext cx="1278438" cy="1508427"/>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Deal type">
              <a:extLst>
                <a:ext uri="{FF2B5EF4-FFF2-40B4-BE49-F238E27FC236}">
                  <a16:creationId xmlns:a16="http://schemas.microsoft.com/office/drawing/2014/main" id="{2F3C66CD-F688-0457-945B-7AE3ECB99B0E}"/>
                </a:ext>
              </a:extLst>
            </p:cNvPr>
            <p:cNvSpPr txBox="1">
              <a:spLocks/>
            </p:cNvSpPr>
            <p:nvPr/>
          </p:nvSpPr>
          <p:spPr>
            <a:xfrm>
              <a:off x="7613823" y="4103729"/>
              <a:ext cx="1280160" cy="336427"/>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HNI Healthcare on its recap by Bison Capital</a:t>
              </a:r>
            </a:p>
          </p:txBody>
        </p:sp>
        <p:pic>
          <p:nvPicPr>
            <p:cNvPr id="102" name="Picture 101" descr="HNI Healthcare | Value-Based Hospital Medicine Services">
              <a:extLst>
                <a:ext uri="{FF2B5EF4-FFF2-40B4-BE49-F238E27FC236}">
                  <a16:creationId xmlns:a16="http://schemas.microsoft.com/office/drawing/2014/main" id="{AA429E2D-A35D-79A1-207B-BA99ECF094A4}"/>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690721" y="3273365"/>
              <a:ext cx="1126364" cy="21133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6" descr="SCALE Healthcare: Partnering with Private Equity Firms">
              <a:extLst>
                <a:ext uri="{FF2B5EF4-FFF2-40B4-BE49-F238E27FC236}">
                  <a16:creationId xmlns:a16="http://schemas.microsoft.com/office/drawing/2014/main" id="{23C8B603-42E2-F7C3-BC70-760B82A5BE21}"/>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811946" y="3725757"/>
              <a:ext cx="883915" cy="231768"/>
            </a:xfrm>
            <a:prstGeom prst="rect">
              <a:avLst/>
            </a:prstGeom>
            <a:noFill/>
            <a:extLst>
              <a:ext uri="{909E8E84-426E-40DD-AFC4-6F175D3DCCD1}">
                <a14:hiddenFill xmlns:a14="http://schemas.microsoft.com/office/drawing/2010/main">
                  <a:solidFill>
                    <a:srgbClr val="FFFFFF"/>
                  </a:solidFill>
                </a14:hiddenFill>
              </a:ext>
            </a:extLst>
          </p:spPr>
        </p:pic>
        <p:sp>
          <p:nvSpPr>
            <p:cNvPr id="104" name="Flag_1">
              <a:extLst>
                <a:ext uri="{FF2B5EF4-FFF2-40B4-BE49-F238E27FC236}">
                  <a16:creationId xmlns:a16="http://schemas.microsoft.com/office/drawing/2014/main" id="{A94950F3-728A-E658-F342-2B9EB4F1B307}"/>
                </a:ext>
              </a:extLst>
            </p:cNvPr>
            <p:cNvSpPr txBox="1">
              <a:spLocks noChangeAspect="1"/>
            </p:cNvSpPr>
            <p:nvPr/>
          </p:nvSpPr>
          <p:spPr>
            <a:xfrm>
              <a:off x="8666122" y="2975890"/>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grpSp>
        <p:nvGrpSpPr>
          <p:cNvPr id="106" name="Group 105">
            <a:extLst>
              <a:ext uri="{FF2B5EF4-FFF2-40B4-BE49-F238E27FC236}">
                <a16:creationId xmlns:a16="http://schemas.microsoft.com/office/drawing/2014/main" id="{C63AFF1A-D75B-252D-55D5-821665AAE10C}"/>
              </a:ext>
            </a:extLst>
          </p:cNvPr>
          <p:cNvGrpSpPr>
            <a:grpSpLocks noChangeAspect="1"/>
          </p:cNvGrpSpPr>
          <p:nvPr/>
        </p:nvGrpSpPr>
        <p:grpSpPr>
          <a:xfrm>
            <a:off x="6087366" y="4593093"/>
            <a:ext cx="1280160" cy="1508427"/>
            <a:chOff x="9053484" y="2936751"/>
            <a:chExt cx="1280160" cy="1508427"/>
          </a:xfrm>
        </p:grpSpPr>
        <p:sp>
          <p:nvSpPr>
            <p:cNvPr id="108" name="Rectangle 107">
              <a:extLst>
                <a:ext uri="{FF2B5EF4-FFF2-40B4-BE49-F238E27FC236}">
                  <a16:creationId xmlns:a16="http://schemas.microsoft.com/office/drawing/2014/main" id="{7676CD56-6128-E042-A002-7D9B48D8CDA6}"/>
                </a:ext>
              </a:extLst>
            </p:cNvPr>
            <p:cNvSpPr>
              <a:spLocks noChangeAspect="1"/>
            </p:cNvSpPr>
            <p:nvPr/>
          </p:nvSpPr>
          <p:spPr>
            <a:xfrm>
              <a:off x="9054345" y="2936751"/>
              <a:ext cx="1278438" cy="1508427"/>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Deal type">
              <a:extLst>
                <a:ext uri="{FF2B5EF4-FFF2-40B4-BE49-F238E27FC236}">
                  <a16:creationId xmlns:a16="http://schemas.microsoft.com/office/drawing/2014/main" id="{8EA0FE94-F927-BC7D-B634-77A372D8B745}"/>
                </a:ext>
              </a:extLst>
            </p:cNvPr>
            <p:cNvSpPr txBox="1">
              <a:spLocks/>
            </p:cNvSpPr>
            <p:nvPr/>
          </p:nvSpPr>
          <p:spPr>
            <a:xfrm>
              <a:off x="9053484" y="4104014"/>
              <a:ext cx="1280160" cy="336142"/>
            </a:xfrm>
            <a:prstGeom prst="rect">
              <a:avLst/>
            </a:prstGeom>
            <a:ln>
              <a:noFill/>
            </a:ln>
          </p:spPr>
          <p:txBody>
            <a:bodyPr vert="horz" wrap="square" lIns="36576" tIns="0" rIns="36576" bIns="64008" rtlCol="0" anchor="b">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Vikus on its sale to </a:t>
              </a:r>
              <a:r>
                <a:rPr lang="en-US" sz="800" err="1"/>
                <a:t>Symplr</a:t>
              </a:r>
              <a:endParaRPr lang="en-US" sz="800"/>
            </a:p>
          </p:txBody>
        </p:sp>
        <p:pic>
          <p:nvPicPr>
            <p:cNvPr id="110" name="Picture 18" descr="Vikus (@WeAreVikus) / X">
              <a:extLst>
                <a:ext uri="{FF2B5EF4-FFF2-40B4-BE49-F238E27FC236}">
                  <a16:creationId xmlns:a16="http://schemas.microsoft.com/office/drawing/2014/main" id="{521D15D3-C25D-C4A4-30CF-8EA84E19231E}"/>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9367922" y="3280565"/>
              <a:ext cx="651284" cy="196930"/>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20" descr="Symplr | Charlesbank Capital Partners">
              <a:extLst>
                <a:ext uri="{FF2B5EF4-FFF2-40B4-BE49-F238E27FC236}">
                  <a16:creationId xmlns:a16="http://schemas.microsoft.com/office/drawing/2014/main" id="{CDE542A8-50E5-C2EF-DBF0-0062103AB612}"/>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9309276" y="3684924"/>
              <a:ext cx="768577" cy="313435"/>
            </a:xfrm>
            <a:prstGeom prst="rect">
              <a:avLst/>
            </a:prstGeom>
            <a:noFill/>
            <a:extLst>
              <a:ext uri="{909E8E84-426E-40DD-AFC4-6F175D3DCCD1}">
                <a14:hiddenFill xmlns:a14="http://schemas.microsoft.com/office/drawing/2010/main">
                  <a:solidFill>
                    <a:srgbClr val="FFFFFF"/>
                  </a:solidFill>
                </a14:hiddenFill>
              </a:ext>
            </a:extLst>
          </p:spPr>
        </p:pic>
        <p:sp>
          <p:nvSpPr>
            <p:cNvPr id="112" name="Flag_1">
              <a:extLst>
                <a:ext uri="{FF2B5EF4-FFF2-40B4-BE49-F238E27FC236}">
                  <a16:creationId xmlns:a16="http://schemas.microsoft.com/office/drawing/2014/main" id="{988A7EBD-71BA-0C89-099C-EBC38DEA187B}"/>
                </a:ext>
              </a:extLst>
            </p:cNvPr>
            <p:cNvSpPr txBox="1">
              <a:spLocks noChangeAspect="1"/>
            </p:cNvSpPr>
            <p:nvPr/>
          </p:nvSpPr>
          <p:spPr>
            <a:xfrm>
              <a:off x="10107265" y="2974642"/>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grpSp>
        <p:nvGrpSpPr>
          <p:cNvPr id="114" name="Group 113">
            <a:extLst>
              <a:ext uri="{FF2B5EF4-FFF2-40B4-BE49-F238E27FC236}">
                <a16:creationId xmlns:a16="http://schemas.microsoft.com/office/drawing/2014/main" id="{F3EA6FBD-D84A-05E4-79C2-6BCD9722A791}"/>
              </a:ext>
            </a:extLst>
          </p:cNvPr>
          <p:cNvGrpSpPr>
            <a:grpSpLocks noChangeAspect="1"/>
          </p:cNvGrpSpPr>
          <p:nvPr/>
        </p:nvGrpSpPr>
        <p:grpSpPr>
          <a:xfrm>
            <a:off x="1824396" y="6245901"/>
            <a:ext cx="1276006" cy="1508426"/>
            <a:chOff x="419100" y="4732385"/>
            <a:chExt cx="1276006" cy="1508426"/>
          </a:xfrm>
        </p:grpSpPr>
        <p:sp>
          <p:nvSpPr>
            <p:cNvPr id="116" name="Rectangle 115">
              <a:extLst>
                <a:ext uri="{FF2B5EF4-FFF2-40B4-BE49-F238E27FC236}">
                  <a16:creationId xmlns:a16="http://schemas.microsoft.com/office/drawing/2014/main" id="{747238A5-946A-70B5-13D3-19A7C6FD866C}"/>
                </a:ext>
              </a:extLst>
            </p:cNvPr>
            <p:cNvSpPr>
              <a:spLocks noChangeAspect="1"/>
            </p:cNvSpPr>
            <p:nvPr/>
          </p:nvSpPr>
          <p:spPr>
            <a:xfrm>
              <a:off x="419958" y="4732385"/>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Deal type">
              <a:extLst>
                <a:ext uri="{FF2B5EF4-FFF2-40B4-BE49-F238E27FC236}">
                  <a16:creationId xmlns:a16="http://schemas.microsoft.com/office/drawing/2014/main" id="{7DE15DB3-A264-0B51-DC3D-855BFE663BE3}"/>
                </a:ext>
              </a:extLst>
            </p:cNvPr>
            <p:cNvSpPr txBox="1">
              <a:spLocks/>
            </p:cNvSpPr>
            <p:nvPr/>
          </p:nvSpPr>
          <p:spPr>
            <a:xfrm>
              <a:off x="419100" y="5899647"/>
              <a:ext cx="1276006"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Health Care </a:t>
              </a:r>
              <a:r>
                <a:rPr lang="en-US" sz="800" err="1"/>
                <a:t>Dataworks</a:t>
              </a:r>
              <a:r>
                <a:rPr lang="en-US" sz="800"/>
                <a:t> on its sale to</a:t>
              </a:r>
              <a:br>
                <a:rPr lang="en-US" sz="800"/>
              </a:br>
              <a:r>
                <a:rPr lang="en-US" sz="800"/>
                <a:t> Health Catalyst</a:t>
              </a:r>
            </a:p>
          </p:txBody>
        </p:sp>
        <p:pic>
          <p:nvPicPr>
            <p:cNvPr id="118" name="Picture 117">
              <a:extLst>
                <a:ext uri="{FF2B5EF4-FFF2-40B4-BE49-F238E27FC236}">
                  <a16:creationId xmlns:a16="http://schemas.microsoft.com/office/drawing/2014/main" id="{31182F69-0233-10F5-C7D6-A5FEBBA54C79}"/>
                </a:ext>
              </a:extLst>
            </p:cNvPr>
            <p:cNvPicPr>
              <a:picLocks noChangeAspect="1"/>
            </p:cNvPicPr>
            <p:nvPr/>
          </p:nvPicPr>
          <p:blipFill>
            <a:blip r:embed="rId36"/>
            <a:srcRect t="36500" b="37500"/>
            <a:stretch/>
          </p:blipFill>
          <p:spPr>
            <a:xfrm>
              <a:off x="612755" y="5062932"/>
              <a:ext cx="888696" cy="231062"/>
            </a:xfrm>
            <a:prstGeom prst="rect">
              <a:avLst/>
            </a:prstGeom>
          </p:spPr>
        </p:pic>
        <p:pic>
          <p:nvPicPr>
            <p:cNvPr id="119" name="Picture 118">
              <a:extLst>
                <a:ext uri="{FF2B5EF4-FFF2-40B4-BE49-F238E27FC236}">
                  <a16:creationId xmlns:a16="http://schemas.microsoft.com/office/drawing/2014/main" id="{D3E28EA8-CC8F-589B-65EA-6525B2217C3F}"/>
                </a:ext>
              </a:extLst>
            </p:cNvPr>
            <p:cNvPicPr>
              <a:picLocks noChangeAspect="1"/>
            </p:cNvPicPr>
            <p:nvPr/>
          </p:nvPicPr>
          <p:blipFill>
            <a:blip r:embed="rId37"/>
            <a:stretch>
              <a:fillRect/>
            </a:stretch>
          </p:blipFill>
          <p:spPr>
            <a:xfrm>
              <a:off x="527973" y="5497498"/>
              <a:ext cx="1058261" cy="188859"/>
            </a:xfrm>
            <a:prstGeom prst="rect">
              <a:avLst/>
            </a:prstGeom>
          </p:spPr>
        </p:pic>
        <p:sp>
          <p:nvSpPr>
            <p:cNvPr id="122" name="Flag_1">
              <a:extLst>
                <a:ext uri="{FF2B5EF4-FFF2-40B4-BE49-F238E27FC236}">
                  <a16:creationId xmlns:a16="http://schemas.microsoft.com/office/drawing/2014/main" id="{8CA3D2EF-2559-4607-D4DB-6877E9680574}"/>
                </a:ext>
              </a:extLst>
            </p:cNvPr>
            <p:cNvSpPr txBox="1">
              <a:spLocks noChangeAspect="1"/>
            </p:cNvSpPr>
            <p:nvPr/>
          </p:nvSpPr>
          <p:spPr>
            <a:xfrm>
              <a:off x="1464484" y="4770276"/>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grpSp>
        <p:nvGrpSpPr>
          <p:cNvPr id="124" name="Group 123">
            <a:extLst>
              <a:ext uri="{FF2B5EF4-FFF2-40B4-BE49-F238E27FC236}">
                <a16:creationId xmlns:a16="http://schemas.microsoft.com/office/drawing/2014/main" id="{24EE8E17-5810-D7EC-9DE0-3BA106923CF8}"/>
              </a:ext>
            </a:extLst>
          </p:cNvPr>
          <p:cNvGrpSpPr>
            <a:grpSpLocks noChangeAspect="1"/>
          </p:cNvGrpSpPr>
          <p:nvPr/>
        </p:nvGrpSpPr>
        <p:grpSpPr>
          <a:xfrm>
            <a:off x="4665252" y="6245902"/>
            <a:ext cx="1276006" cy="1508426"/>
            <a:chOff x="3294767" y="4732385"/>
            <a:chExt cx="1276006" cy="1508426"/>
          </a:xfrm>
        </p:grpSpPr>
        <p:sp>
          <p:nvSpPr>
            <p:cNvPr id="125" name="Rectangle 124">
              <a:extLst>
                <a:ext uri="{FF2B5EF4-FFF2-40B4-BE49-F238E27FC236}">
                  <a16:creationId xmlns:a16="http://schemas.microsoft.com/office/drawing/2014/main" id="{A8A5273A-DF53-C82B-BB85-739E489CB8DE}"/>
                </a:ext>
              </a:extLst>
            </p:cNvPr>
            <p:cNvSpPr>
              <a:spLocks noChangeAspect="1"/>
            </p:cNvSpPr>
            <p:nvPr/>
          </p:nvSpPr>
          <p:spPr>
            <a:xfrm>
              <a:off x="3295625" y="4732385"/>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Deal type">
              <a:extLst>
                <a:ext uri="{FF2B5EF4-FFF2-40B4-BE49-F238E27FC236}">
                  <a16:creationId xmlns:a16="http://schemas.microsoft.com/office/drawing/2014/main" id="{9BDFA43C-3E16-039A-23C5-B402E43EEFB2}"/>
                </a:ext>
              </a:extLst>
            </p:cNvPr>
            <p:cNvSpPr txBox="1">
              <a:spLocks/>
            </p:cNvSpPr>
            <p:nvPr/>
          </p:nvSpPr>
          <p:spPr>
            <a:xfrm>
              <a:off x="3294767" y="5899647"/>
              <a:ext cx="1276006" cy="336142"/>
            </a:xfrm>
            <a:prstGeom prst="rect">
              <a:avLst/>
            </a:prstGeom>
            <a:ln>
              <a:noFill/>
            </a:ln>
          </p:spPr>
          <p:txBody>
            <a:bodyPr vert="horz" wrap="square" lIns="36576" tIns="0" rIns="36576" bIns="64008" rtlCol="0" anchor="b">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er to </a:t>
              </a:r>
              <a:r>
                <a:rPr lang="en-US" sz="800" err="1"/>
                <a:t>MedVentive</a:t>
              </a:r>
              <a:r>
                <a:rPr lang="en-US" sz="800"/>
                <a:t> on its sale to McKesson</a:t>
              </a:r>
            </a:p>
          </p:txBody>
        </p:sp>
        <p:pic>
          <p:nvPicPr>
            <p:cNvPr id="127" name="Picture 126">
              <a:extLst>
                <a:ext uri="{FF2B5EF4-FFF2-40B4-BE49-F238E27FC236}">
                  <a16:creationId xmlns:a16="http://schemas.microsoft.com/office/drawing/2014/main" id="{574563E3-4C6C-1801-1DBC-EE2E0EBFD810}"/>
                </a:ext>
              </a:extLst>
            </p:cNvPr>
            <p:cNvPicPr>
              <a:picLocks noChangeAspect="1"/>
            </p:cNvPicPr>
            <p:nvPr/>
          </p:nvPicPr>
          <p:blipFill>
            <a:blip r:embed="rId38"/>
            <a:srcRect l="9621" t="7507" r="8399" b="11382"/>
            <a:stretch/>
          </p:blipFill>
          <p:spPr>
            <a:xfrm>
              <a:off x="3590415" y="5011120"/>
              <a:ext cx="684711" cy="317560"/>
            </a:xfrm>
            <a:prstGeom prst="rect">
              <a:avLst/>
            </a:prstGeom>
          </p:spPr>
        </p:pic>
        <p:pic>
          <p:nvPicPr>
            <p:cNvPr id="512" name="Picture 511">
              <a:extLst>
                <a:ext uri="{FF2B5EF4-FFF2-40B4-BE49-F238E27FC236}">
                  <a16:creationId xmlns:a16="http://schemas.microsoft.com/office/drawing/2014/main" id="{F2C6162E-AE46-A494-D830-ED929DC560EC}"/>
                </a:ext>
              </a:extLst>
            </p:cNvPr>
            <p:cNvPicPr>
              <a:picLocks noChangeAspect="1"/>
            </p:cNvPicPr>
            <p:nvPr/>
          </p:nvPicPr>
          <p:blipFill>
            <a:blip r:embed="rId39"/>
            <a:stretch>
              <a:fillRect/>
            </a:stretch>
          </p:blipFill>
          <p:spPr>
            <a:xfrm>
              <a:off x="3451743" y="5559499"/>
              <a:ext cx="962055" cy="132283"/>
            </a:xfrm>
            <a:prstGeom prst="rect">
              <a:avLst/>
            </a:prstGeom>
          </p:spPr>
        </p:pic>
        <p:sp>
          <p:nvSpPr>
            <p:cNvPr id="518" name="Flag_1">
              <a:extLst>
                <a:ext uri="{FF2B5EF4-FFF2-40B4-BE49-F238E27FC236}">
                  <a16:creationId xmlns:a16="http://schemas.microsoft.com/office/drawing/2014/main" id="{BCE68F57-354C-3939-900E-E7C2BBC56645}"/>
                </a:ext>
              </a:extLst>
            </p:cNvPr>
            <p:cNvSpPr txBox="1">
              <a:spLocks noChangeAspect="1"/>
            </p:cNvSpPr>
            <p:nvPr/>
          </p:nvSpPr>
          <p:spPr>
            <a:xfrm>
              <a:off x="4343369" y="4770275"/>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grpSp>
        <p:nvGrpSpPr>
          <p:cNvPr id="519" name="Group 518">
            <a:extLst>
              <a:ext uri="{FF2B5EF4-FFF2-40B4-BE49-F238E27FC236}">
                <a16:creationId xmlns:a16="http://schemas.microsoft.com/office/drawing/2014/main" id="{EE7BB972-CFD2-42D2-E137-B9D53F268000}"/>
              </a:ext>
            </a:extLst>
          </p:cNvPr>
          <p:cNvGrpSpPr>
            <a:grpSpLocks noChangeAspect="1"/>
          </p:cNvGrpSpPr>
          <p:nvPr/>
        </p:nvGrpSpPr>
        <p:grpSpPr>
          <a:xfrm>
            <a:off x="6087797" y="6245902"/>
            <a:ext cx="1276006" cy="1508426"/>
            <a:chOff x="4731177" y="4732385"/>
            <a:chExt cx="1276006" cy="1508426"/>
          </a:xfrm>
        </p:grpSpPr>
        <p:sp>
          <p:nvSpPr>
            <p:cNvPr id="521" name="Rectangle 520">
              <a:extLst>
                <a:ext uri="{FF2B5EF4-FFF2-40B4-BE49-F238E27FC236}">
                  <a16:creationId xmlns:a16="http://schemas.microsoft.com/office/drawing/2014/main" id="{F5FD55B8-E6D0-B791-6C6A-D050F38AA9AF}"/>
                </a:ext>
              </a:extLst>
            </p:cNvPr>
            <p:cNvSpPr>
              <a:spLocks noChangeAspect="1"/>
            </p:cNvSpPr>
            <p:nvPr/>
          </p:nvSpPr>
          <p:spPr>
            <a:xfrm>
              <a:off x="4731177" y="4732385"/>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2" name="Deal type">
              <a:extLst>
                <a:ext uri="{FF2B5EF4-FFF2-40B4-BE49-F238E27FC236}">
                  <a16:creationId xmlns:a16="http://schemas.microsoft.com/office/drawing/2014/main" id="{D36C31BC-032D-6F0A-8978-C7FE09973E0C}"/>
                </a:ext>
              </a:extLst>
            </p:cNvPr>
            <p:cNvSpPr txBox="1">
              <a:spLocks/>
            </p:cNvSpPr>
            <p:nvPr/>
          </p:nvSpPr>
          <p:spPr>
            <a:xfrm>
              <a:off x="4731177" y="5899647"/>
              <a:ext cx="1276006" cy="336142"/>
            </a:xfrm>
            <a:prstGeom prst="rect">
              <a:avLst/>
            </a:prstGeom>
            <a:ln>
              <a:noFill/>
            </a:ln>
          </p:spPr>
          <p:txBody>
            <a:bodyPr vert="horz" wrap="square" lIns="36576" tIns="0" rIns="36576" bIns="64008" rtlCol="0" anchor="b">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Futuredontics</a:t>
              </a:r>
              <a:r>
                <a:rPr lang="en-US" sz="800"/>
                <a:t> on its sale to Dentsply Sirona</a:t>
              </a:r>
            </a:p>
          </p:txBody>
        </p:sp>
        <p:pic>
          <p:nvPicPr>
            <p:cNvPr id="533" name="Picture 44" descr="Futuredontics - Crunchbase Company Profile &amp; Funding">
              <a:extLst>
                <a:ext uri="{FF2B5EF4-FFF2-40B4-BE49-F238E27FC236}">
                  <a16:creationId xmlns:a16="http://schemas.microsoft.com/office/drawing/2014/main" id="{51620CB0-FA4D-5AE9-32EA-09E294067229}"/>
                </a:ext>
              </a:extLst>
            </p:cNvPr>
            <p:cNvPicPr>
              <a:picLocks noChangeAspect="1" noChangeArrowheads="1"/>
            </p:cNvPicPr>
            <p:nvPr/>
          </p:nvPicPr>
          <p:blipFill rotWithShape="1">
            <a:blip r:embed="rId40">
              <a:extLst>
                <a:ext uri="{28A0092B-C50C-407E-A947-70E740481C1C}">
                  <a14:useLocalDpi xmlns:a14="http://schemas.microsoft.com/office/drawing/2010/main" val="0"/>
                </a:ext>
              </a:extLst>
            </a:blip>
            <a:srcRect t="39310" b="39310"/>
            <a:stretch/>
          </p:blipFill>
          <p:spPr bwMode="auto">
            <a:xfrm>
              <a:off x="4884024" y="5068869"/>
              <a:ext cx="968596" cy="207085"/>
            </a:xfrm>
            <a:prstGeom prst="rect">
              <a:avLst/>
            </a:prstGeom>
            <a:noFill/>
            <a:extLst>
              <a:ext uri="{909E8E84-426E-40DD-AFC4-6F175D3DCCD1}">
                <a14:hiddenFill xmlns:a14="http://schemas.microsoft.com/office/drawing/2010/main">
                  <a:solidFill>
                    <a:srgbClr val="FFFFFF"/>
                  </a:solidFill>
                </a14:hiddenFill>
              </a:ext>
            </a:extLst>
          </p:spPr>
        </p:pic>
        <p:sp>
          <p:nvSpPr>
            <p:cNvPr id="534" name="Flag_1">
              <a:extLst>
                <a:ext uri="{FF2B5EF4-FFF2-40B4-BE49-F238E27FC236}">
                  <a16:creationId xmlns:a16="http://schemas.microsoft.com/office/drawing/2014/main" id="{7D728687-973D-4238-A735-7E66F28C3D69}"/>
                </a:ext>
              </a:extLst>
            </p:cNvPr>
            <p:cNvSpPr txBox="1">
              <a:spLocks noChangeAspect="1"/>
            </p:cNvSpPr>
            <p:nvPr/>
          </p:nvSpPr>
          <p:spPr>
            <a:xfrm>
              <a:off x="5779800" y="4773058"/>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535" name="Picture 48" descr="Dentsply Sirona presents Primescan® 2 powered by DS Core: The first  cloud-native intraoral scanning solution">
              <a:extLst>
                <a:ext uri="{FF2B5EF4-FFF2-40B4-BE49-F238E27FC236}">
                  <a16:creationId xmlns:a16="http://schemas.microsoft.com/office/drawing/2014/main" id="{38389F1E-7BA5-BD8F-BBDE-7970D2687993}"/>
                </a:ext>
              </a:extLst>
            </p:cNvPr>
            <p:cNvPicPr>
              <a:picLocks noChangeAspect="1" noChangeArrowheads="1"/>
            </p:cNvPicPr>
            <p:nvPr/>
          </p:nvPicPr>
          <p:blipFill rotWithShape="1">
            <a:blip r:embed="rId41">
              <a:extLst>
                <a:ext uri="{28A0092B-C50C-407E-A947-70E740481C1C}">
                  <a14:useLocalDpi xmlns:a14="http://schemas.microsoft.com/office/drawing/2010/main" val="0"/>
                </a:ext>
              </a:extLst>
            </a:blip>
            <a:srcRect t="22387" b="22387"/>
            <a:stretch/>
          </p:blipFill>
          <p:spPr bwMode="auto">
            <a:xfrm>
              <a:off x="4945605" y="5485009"/>
              <a:ext cx="845435" cy="24481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88" name="Group 587">
            <a:extLst>
              <a:ext uri="{FF2B5EF4-FFF2-40B4-BE49-F238E27FC236}">
                <a16:creationId xmlns:a16="http://schemas.microsoft.com/office/drawing/2014/main" id="{10ADE2CA-423C-9431-13F4-1C08DC72414F}"/>
              </a:ext>
            </a:extLst>
          </p:cNvPr>
          <p:cNvGrpSpPr>
            <a:grpSpLocks noChangeAspect="1"/>
          </p:cNvGrpSpPr>
          <p:nvPr/>
        </p:nvGrpSpPr>
        <p:grpSpPr>
          <a:xfrm>
            <a:off x="401234" y="7889445"/>
            <a:ext cx="1287275" cy="1508426"/>
            <a:chOff x="6170800" y="4726806"/>
            <a:chExt cx="1287275" cy="1508426"/>
          </a:xfrm>
        </p:grpSpPr>
        <p:sp>
          <p:nvSpPr>
            <p:cNvPr id="589" name="Rectangle 588">
              <a:extLst>
                <a:ext uri="{FF2B5EF4-FFF2-40B4-BE49-F238E27FC236}">
                  <a16:creationId xmlns:a16="http://schemas.microsoft.com/office/drawing/2014/main" id="{D8C1BCE2-5321-3025-9229-D80E1BC0E602}"/>
                </a:ext>
              </a:extLst>
            </p:cNvPr>
            <p:cNvSpPr>
              <a:spLocks noChangeAspect="1"/>
            </p:cNvSpPr>
            <p:nvPr/>
          </p:nvSpPr>
          <p:spPr>
            <a:xfrm>
              <a:off x="6183786" y="4726806"/>
              <a:ext cx="1274289"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0" name="Deal type">
              <a:extLst>
                <a:ext uri="{FF2B5EF4-FFF2-40B4-BE49-F238E27FC236}">
                  <a16:creationId xmlns:a16="http://schemas.microsoft.com/office/drawing/2014/main" id="{2598052D-CA4E-543E-79B3-51EE1559036C}"/>
                </a:ext>
              </a:extLst>
            </p:cNvPr>
            <p:cNvSpPr txBox="1">
              <a:spLocks/>
            </p:cNvSpPr>
            <p:nvPr/>
          </p:nvSpPr>
          <p:spPr>
            <a:xfrm>
              <a:off x="6170800" y="5894068"/>
              <a:ext cx="1276006"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Medical Collective Intelligence (division of Itochu) on its sale to </a:t>
              </a:r>
              <a:r>
                <a:rPr lang="en-US" sz="800" err="1"/>
                <a:t>OmniCom</a:t>
              </a:r>
              <a:endParaRPr lang="en-US" sz="800"/>
            </a:p>
          </p:txBody>
        </p:sp>
        <p:pic>
          <p:nvPicPr>
            <p:cNvPr id="591" name="Picture 590">
              <a:extLst>
                <a:ext uri="{FF2B5EF4-FFF2-40B4-BE49-F238E27FC236}">
                  <a16:creationId xmlns:a16="http://schemas.microsoft.com/office/drawing/2014/main" id="{966C89C0-7520-3E89-3EA6-805469492372}"/>
                </a:ext>
              </a:extLst>
            </p:cNvPr>
            <p:cNvPicPr>
              <a:picLocks noChangeAspect="1"/>
            </p:cNvPicPr>
            <p:nvPr/>
          </p:nvPicPr>
          <p:blipFill>
            <a:blip r:embed="rId42"/>
            <a:stretch>
              <a:fillRect/>
            </a:stretch>
          </p:blipFill>
          <p:spPr>
            <a:xfrm>
              <a:off x="6339903" y="5556123"/>
              <a:ext cx="962055" cy="113037"/>
            </a:xfrm>
            <a:prstGeom prst="rect">
              <a:avLst/>
            </a:prstGeom>
          </p:spPr>
        </p:pic>
        <p:grpSp>
          <p:nvGrpSpPr>
            <p:cNvPr id="592" name="Group 591">
              <a:extLst>
                <a:ext uri="{FF2B5EF4-FFF2-40B4-BE49-F238E27FC236}">
                  <a16:creationId xmlns:a16="http://schemas.microsoft.com/office/drawing/2014/main" id="{3CF96D78-4F0F-F80E-3E4C-5B28FF79BA59}"/>
                </a:ext>
              </a:extLst>
            </p:cNvPr>
            <p:cNvGrpSpPr/>
            <p:nvPr/>
          </p:nvGrpSpPr>
          <p:grpSpPr>
            <a:xfrm>
              <a:off x="6297871" y="5054230"/>
              <a:ext cx="1046118" cy="243523"/>
              <a:chOff x="7697315" y="5054230"/>
              <a:chExt cx="1046118" cy="243523"/>
            </a:xfrm>
          </p:grpSpPr>
          <p:pic>
            <p:nvPicPr>
              <p:cNvPr id="595" name="Picture 594">
                <a:extLst>
                  <a:ext uri="{FF2B5EF4-FFF2-40B4-BE49-F238E27FC236}">
                    <a16:creationId xmlns:a16="http://schemas.microsoft.com/office/drawing/2014/main" id="{620B1384-7D05-044A-C9C7-EE07142D72DC}"/>
                  </a:ext>
                </a:extLst>
              </p:cNvPr>
              <p:cNvPicPr>
                <a:picLocks noChangeAspect="1"/>
              </p:cNvPicPr>
              <p:nvPr/>
            </p:nvPicPr>
            <p:blipFill>
              <a:blip r:embed="rId43"/>
              <a:stretch>
                <a:fillRect/>
              </a:stretch>
            </p:blipFill>
            <p:spPr>
              <a:xfrm>
                <a:off x="7697315" y="5083425"/>
                <a:ext cx="448805" cy="185133"/>
              </a:xfrm>
              <a:prstGeom prst="rect">
                <a:avLst/>
              </a:prstGeom>
            </p:spPr>
          </p:pic>
          <p:pic>
            <p:nvPicPr>
              <p:cNvPr id="596" name="Picture 595">
                <a:extLst>
                  <a:ext uri="{FF2B5EF4-FFF2-40B4-BE49-F238E27FC236}">
                    <a16:creationId xmlns:a16="http://schemas.microsoft.com/office/drawing/2014/main" id="{D3C3BB64-4F41-7641-34E3-7199FD36D2E3}"/>
                  </a:ext>
                </a:extLst>
              </p:cNvPr>
              <p:cNvPicPr>
                <a:picLocks noChangeAspect="1"/>
              </p:cNvPicPr>
              <p:nvPr/>
            </p:nvPicPr>
            <p:blipFill>
              <a:blip r:embed="rId44"/>
              <a:stretch>
                <a:fillRect/>
              </a:stretch>
            </p:blipFill>
            <p:spPr>
              <a:xfrm>
                <a:off x="8177100" y="5054230"/>
                <a:ext cx="566333" cy="243523"/>
              </a:xfrm>
              <a:prstGeom prst="rect">
                <a:avLst/>
              </a:prstGeom>
            </p:spPr>
          </p:pic>
        </p:grpSp>
        <p:pic>
          <p:nvPicPr>
            <p:cNvPr id="593" name="Imagen 24">
              <a:extLst>
                <a:ext uri="{FF2B5EF4-FFF2-40B4-BE49-F238E27FC236}">
                  <a16:creationId xmlns:a16="http://schemas.microsoft.com/office/drawing/2014/main" id="{6D174EA3-6DB4-2356-07F5-DF81CD631376}"/>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7010516" y="4761430"/>
              <a:ext cx="164592" cy="164592"/>
            </a:xfrm>
            <a:prstGeom prst="rect">
              <a:avLst/>
            </a:prstGeom>
          </p:spPr>
        </p:pic>
        <p:sp>
          <p:nvSpPr>
            <p:cNvPr id="594" name="Flag_1">
              <a:extLst>
                <a:ext uri="{FF2B5EF4-FFF2-40B4-BE49-F238E27FC236}">
                  <a16:creationId xmlns:a16="http://schemas.microsoft.com/office/drawing/2014/main" id="{3E1D07F3-EC91-9FA2-FD26-75244DB1879B}"/>
                </a:ext>
              </a:extLst>
            </p:cNvPr>
            <p:cNvSpPr txBox="1">
              <a:spLocks noChangeAspect="1"/>
            </p:cNvSpPr>
            <p:nvPr/>
          </p:nvSpPr>
          <p:spPr>
            <a:xfrm>
              <a:off x="7219060" y="4764697"/>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grpSp>
        <p:nvGrpSpPr>
          <p:cNvPr id="597" name="Group 596">
            <a:extLst>
              <a:ext uri="{FF2B5EF4-FFF2-40B4-BE49-F238E27FC236}">
                <a16:creationId xmlns:a16="http://schemas.microsoft.com/office/drawing/2014/main" id="{63AA728C-FCA0-1095-8111-6098D84B73E6}"/>
              </a:ext>
            </a:extLst>
          </p:cNvPr>
          <p:cNvGrpSpPr>
            <a:grpSpLocks noChangeAspect="1"/>
          </p:cNvGrpSpPr>
          <p:nvPr/>
        </p:nvGrpSpPr>
        <p:grpSpPr>
          <a:xfrm>
            <a:off x="1822750" y="7889444"/>
            <a:ext cx="1280160" cy="1508427"/>
            <a:chOff x="7617574" y="4732385"/>
            <a:chExt cx="1280160" cy="1508427"/>
          </a:xfrm>
        </p:grpSpPr>
        <p:sp>
          <p:nvSpPr>
            <p:cNvPr id="598" name="Rectangle 597">
              <a:extLst>
                <a:ext uri="{FF2B5EF4-FFF2-40B4-BE49-F238E27FC236}">
                  <a16:creationId xmlns:a16="http://schemas.microsoft.com/office/drawing/2014/main" id="{4C558CE4-BC6E-8A1C-D55B-D4BEAA5AEC51}"/>
                </a:ext>
              </a:extLst>
            </p:cNvPr>
            <p:cNvSpPr>
              <a:spLocks noChangeAspect="1"/>
            </p:cNvSpPr>
            <p:nvPr/>
          </p:nvSpPr>
          <p:spPr>
            <a:xfrm>
              <a:off x="7618435" y="4732385"/>
              <a:ext cx="1278438" cy="1508427"/>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9" name="Deal type">
              <a:extLst>
                <a:ext uri="{FF2B5EF4-FFF2-40B4-BE49-F238E27FC236}">
                  <a16:creationId xmlns:a16="http://schemas.microsoft.com/office/drawing/2014/main" id="{110F57BC-C745-7CE0-D11D-67DD3DD2E5EE}"/>
                </a:ext>
              </a:extLst>
            </p:cNvPr>
            <p:cNvSpPr txBox="1">
              <a:spLocks/>
            </p:cNvSpPr>
            <p:nvPr/>
          </p:nvSpPr>
          <p:spPr>
            <a:xfrm>
              <a:off x="7617574" y="5899648"/>
              <a:ext cx="1280160"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mScripts</a:t>
              </a:r>
              <a:r>
                <a:rPr lang="en-US" sz="800"/>
                <a:t> on its recap by Cardinal Health</a:t>
              </a:r>
            </a:p>
          </p:txBody>
        </p:sp>
        <p:pic>
          <p:nvPicPr>
            <p:cNvPr id="600" name="Picture 599">
              <a:extLst>
                <a:ext uri="{FF2B5EF4-FFF2-40B4-BE49-F238E27FC236}">
                  <a16:creationId xmlns:a16="http://schemas.microsoft.com/office/drawing/2014/main" id="{B5DAF357-7133-FE65-980D-FF3898D3444D}"/>
                </a:ext>
              </a:extLst>
            </p:cNvPr>
            <p:cNvPicPr>
              <a:picLocks noChangeAspect="1"/>
            </p:cNvPicPr>
            <p:nvPr/>
          </p:nvPicPr>
          <p:blipFill>
            <a:blip r:embed="rId46"/>
            <a:stretch>
              <a:fillRect/>
            </a:stretch>
          </p:blipFill>
          <p:spPr>
            <a:xfrm>
              <a:off x="7811567" y="5089640"/>
              <a:ext cx="892175" cy="176205"/>
            </a:xfrm>
            <a:prstGeom prst="rect">
              <a:avLst/>
            </a:prstGeom>
          </p:spPr>
        </p:pic>
        <p:pic>
          <p:nvPicPr>
            <p:cNvPr id="601" name="Picture 600">
              <a:extLst>
                <a:ext uri="{FF2B5EF4-FFF2-40B4-BE49-F238E27FC236}">
                  <a16:creationId xmlns:a16="http://schemas.microsoft.com/office/drawing/2014/main" id="{B8CF6A6B-6824-B588-71F7-1C402D5EE9E1}"/>
                </a:ext>
              </a:extLst>
            </p:cNvPr>
            <p:cNvPicPr>
              <a:picLocks noChangeAspect="1"/>
            </p:cNvPicPr>
            <p:nvPr/>
          </p:nvPicPr>
          <p:blipFill>
            <a:blip r:embed="rId47"/>
            <a:stretch>
              <a:fillRect/>
            </a:stretch>
          </p:blipFill>
          <p:spPr>
            <a:xfrm>
              <a:off x="7776627" y="5449621"/>
              <a:ext cx="962055" cy="317478"/>
            </a:xfrm>
            <a:prstGeom prst="rect">
              <a:avLst/>
            </a:prstGeom>
          </p:spPr>
        </p:pic>
        <p:sp>
          <p:nvSpPr>
            <p:cNvPr id="602" name="Flag_1">
              <a:extLst>
                <a:ext uri="{FF2B5EF4-FFF2-40B4-BE49-F238E27FC236}">
                  <a16:creationId xmlns:a16="http://schemas.microsoft.com/office/drawing/2014/main" id="{56DA245A-5FD2-53E6-E3FF-5FEF4AE868F6}"/>
                </a:ext>
              </a:extLst>
            </p:cNvPr>
            <p:cNvSpPr txBox="1">
              <a:spLocks noChangeAspect="1"/>
            </p:cNvSpPr>
            <p:nvPr/>
          </p:nvSpPr>
          <p:spPr>
            <a:xfrm>
              <a:off x="8671662" y="4776240"/>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grpSp>
        <p:nvGrpSpPr>
          <p:cNvPr id="603" name="Group 602">
            <a:extLst>
              <a:ext uri="{FF2B5EF4-FFF2-40B4-BE49-F238E27FC236}">
                <a16:creationId xmlns:a16="http://schemas.microsoft.com/office/drawing/2014/main" id="{AA43A4BA-F394-0C22-F414-F85F5387F4EB}"/>
              </a:ext>
            </a:extLst>
          </p:cNvPr>
          <p:cNvGrpSpPr>
            <a:grpSpLocks noChangeAspect="1"/>
          </p:cNvGrpSpPr>
          <p:nvPr/>
        </p:nvGrpSpPr>
        <p:grpSpPr>
          <a:xfrm>
            <a:off x="406868" y="6245901"/>
            <a:ext cx="1276006" cy="1508426"/>
            <a:chOff x="10494818" y="2936751"/>
            <a:chExt cx="1276006" cy="1508426"/>
          </a:xfrm>
        </p:grpSpPr>
        <p:sp>
          <p:nvSpPr>
            <p:cNvPr id="604" name="Rectangle 603">
              <a:extLst>
                <a:ext uri="{FF2B5EF4-FFF2-40B4-BE49-F238E27FC236}">
                  <a16:creationId xmlns:a16="http://schemas.microsoft.com/office/drawing/2014/main" id="{0B549D12-2B26-90CB-7C84-7632B9125989}"/>
                </a:ext>
              </a:extLst>
            </p:cNvPr>
            <p:cNvSpPr>
              <a:spLocks noChangeAspect="1"/>
            </p:cNvSpPr>
            <p:nvPr/>
          </p:nvSpPr>
          <p:spPr>
            <a:xfrm>
              <a:off x="10495676" y="2936751"/>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5" name="Deal type">
              <a:extLst>
                <a:ext uri="{FF2B5EF4-FFF2-40B4-BE49-F238E27FC236}">
                  <a16:creationId xmlns:a16="http://schemas.microsoft.com/office/drawing/2014/main" id="{AA9444BA-D043-C948-1080-932110B75A6A}"/>
                </a:ext>
              </a:extLst>
            </p:cNvPr>
            <p:cNvSpPr txBox="1">
              <a:spLocks/>
            </p:cNvSpPr>
            <p:nvPr/>
          </p:nvSpPr>
          <p:spPr>
            <a:xfrm>
              <a:off x="10494818" y="4104013"/>
              <a:ext cx="1276006"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Skylight Healthcare Systems on its sale to </a:t>
              </a:r>
              <a:br>
                <a:rPr lang="en-US" sz="800"/>
              </a:br>
              <a:r>
                <a:rPr lang="en-US" sz="800" err="1"/>
                <a:t>GetWell</a:t>
              </a:r>
              <a:r>
                <a:rPr lang="en-US" sz="800"/>
                <a:t> Network</a:t>
              </a:r>
            </a:p>
          </p:txBody>
        </p:sp>
        <p:sp>
          <p:nvSpPr>
            <p:cNvPr id="606" name="Flag_1">
              <a:extLst>
                <a:ext uri="{FF2B5EF4-FFF2-40B4-BE49-F238E27FC236}">
                  <a16:creationId xmlns:a16="http://schemas.microsoft.com/office/drawing/2014/main" id="{BFF3A694-8EC3-7495-C6A7-521689C6A136}"/>
                </a:ext>
              </a:extLst>
            </p:cNvPr>
            <p:cNvSpPr txBox="1">
              <a:spLocks noChangeAspect="1"/>
            </p:cNvSpPr>
            <p:nvPr/>
          </p:nvSpPr>
          <p:spPr>
            <a:xfrm>
              <a:off x="11543442" y="2975890"/>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07" name="Picture 38" descr="GetwellNetwork | Greenway Health">
              <a:extLst>
                <a:ext uri="{FF2B5EF4-FFF2-40B4-BE49-F238E27FC236}">
                  <a16:creationId xmlns:a16="http://schemas.microsoft.com/office/drawing/2014/main" id="{D7EA855C-64ED-60FE-E26A-F88F222146AE}"/>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0621333" y="3732904"/>
              <a:ext cx="1022976" cy="135332"/>
            </a:xfrm>
            <a:prstGeom prst="rect">
              <a:avLst/>
            </a:prstGeom>
            <a:noFill/>
            <a:extLst>
              <a:ext uri="{909E8E84-426E-40DD-AFC4-6F175D3DCCD1}">
                <a14:hiddenFill xmlns:a14="http://schemas.microsoft.com/office/drawing/2010/main">
                  <a:solidFill>
                    <a:srgbClr val="FFFFFF"/>
                  </a:solidFill>
                </a14:hiddenFill>
              </a:ext>
            </a:extLst>
          </p:spPr>
        </p:pic>
        <p:pic>
          <p:nvPicPr>
            <p:cNvPr id="608" name="Picture 34" descr="Skylight Healthcare Systems President and CEO to Speak at">
              <a:extLst>
                <a:ext uri="{FF2B5EF4-FFF2-40B4-BE49-F238E27FC236}">
                  <a16:creationId xmlns:a16="http://schemas.microsoft.com/office/drawing/2014/main" id="{2AD706AE-139D-E538-FF47-34FB69B83848}"/>
                </a:ext>
              </a:extLst>
            </p:cNvPr>
            <p:cNvPicPr>
              <a:picLocks noChangeAspect="1" noChangeArrowheads="1"/>
            </p:cNvPicPr>
            <p:nvPr/>
          </p:nvPicPr>
          <p:blipFill rotWithShape="1">
            <a:blip r:embed="rId49">
              <a:extLst>
                <a:ext uri="{28A0092B-C50C-407E-A947-70E740481C1C}">
                  <a14:useLocalDpi xmlns:a14="http://schemas.microsoft.com/office/drawing/2010/main" val="0"/>
                </a:ext>
              </a:extLst>
            </a:blip>
            <a:srcRect l="2000" r="2000" b="30980"/>
            <a:stretch/>
          </p:blipFill>
          <p:spPr bwMode="auto">
            <a:xfrm>
              <a:off x="10681968" y="3261533"/>
              <a:ext cx="901706" cy="2588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09" name="Group 608">
            <a:extLst>
              <a:ext uri="{FF2B5EF4-FFF2-40B4-BE49-F238E27FC236}">
                <a16:creationId xmlns:a16="http://schemas.microsoft.com/office/drawing/2014/main" id="{B4C8B843-F1DB-ABDB-D3D0-4A3C8F7DD4AC}"/>
              </a:ext>
            </a:extLst>
          </p:cNvPr>
          <p:cNvGrpSpPr>
            <a:grpSpLocks noChangeAspect="1"/>
          </p:cNvGrpSpPr>
          <p:nvPr/>
        </p:nvGrpSpPr>
        <p:grpSpPr>
          <a:xfrm>
            <a:off x="4667837" y="7889445"/>
            <a:ext cx="1276006" cy="1508426"/>
            <a:chOff x="10494818" y="4732385"/>
            <a:chExt cx="1276006" cy="1508426"/>
          </a:xfrm>
        </p:grpSpPr>
        <p:sp>
          <p:nvSpPr>
            <p:cNvPr id="610" name="Rectangle 609">
              <a:extLst>
                <a:ext uri="{FF2B5EF4-FFF2-40B4-BE49-F238E27FC236}">
                  <a16:creationId xmlns:a16="http://schemas.microsoft.com/office/drawing/2014/main" id="{CA96482F-9472-BB0A-3372-ACFFF36EA334}"/>
                </a:ext>
              </a:extLst>
            </p:cNvPr>
            <p:cNvSpPr>
              <a:spLocks noChangeAspect="1"/>
            </p:cNvSpPr>
            <p:nvPr/>
          </p:nvSpPr>
          <p:spPr>
            <a:xfrm>
              <a:off x="10495676" y="4732385"/>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1" name="Deal type">
              <a:extLst>
                <a:ext uri="{FF2B5EF4-FFF2-40B4-BE49-F238E27FC236}">
                  <a16:creationId xmlns:a16="http://schemas.microsoft.com/office/drawing/2014/main" id="{C52D2AAC-A03E-024D-300E-30F2CAB4A985}"/>
                </a:ext>
              </a:extLst>
            </p:cNvPr>
            <p:cNvSpPr txBox="1">
              <a:spLocks/>
            </p:cNvSpPr>
            <p:nvPr/>
          </p:nvSpPr>
          <p:spPr>
            <a:xfrm>
              <a:off x="10494818" y="5899647"/>
              <a:ext cx="1276006"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Avantas</a:t>
              </a:r>
              <a:r>
                <a:rPr lang="en-US" sz="800"/>
                <a:t> on its sale to AMN Healthcare</a:t>
              </a:r>
            </a:p>
          </p:txBody>
        </p:sp>
        <p:sp>
          <p:nvSpPr>
            <p:cNvPr id="612" name="Flag_1">
              <a:extLst>
                <a:ext uri="{FF2B5EF4-FFF2-40B4-BE49-F238E27FC236}">
                  <a16:creationId xmlns:a16="http://schemas.microsoft.com/office/drawing/2014/main" id="{279AC074-4535-4F2C-7D8C-0416A4B344C5}"/>
                </a:ext>
              </a:extLst>
            </p:cNvPr>
            <p:cNvSpPr txBox="1">
              <a:spLocks noChangeAspect="1"/>
            </p:cNvSpPr>
            <p:nvPr/>
          </p:nvSpPr>
          <p:spPr>
            <a:xfrm>
              <a:off x="11543442" y="4771523"/>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13" name="Picture 66" descr="Meridian Health Selects Avantas for Healthcare Enterprise Labor Management  Solutions">
              <a:extLst>
                <a:ext uri="{FF2B5EF4-FFF2-40B4-BE49-F238E27FC236}">
                  <a16:creationId xmlns:a16="http://schemas.microsoft.com/office/drawing/2014/main" id="{9B859BAC-8425-6222-52E8-05C6387AF59D}"/>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0667832" y="5098930"/>
              <a:ext cx="929979" cy="222565"/>
            </a:xfrm>
            <a:prstGeom prst="rect">
              <a:avLst/>
            </a:prstGeom>
            <a:noFill/>
            <a:extLst>
              <a:ext uri="{909E8E84-426E-40DD-AFC4-6F175D3DCCD1}">
                <a14:hiddenFill xmlns:a14="http://schemas.microsoft.com/office/drawing/2010/main">
                  <a:solidFill>
                    <a:srgbClr val="FFFFFF"/>
                  </a:solidFill>
                </a14:hiddenFill>
              </a:ext>
            </a:extLst>
          </p:spPr>
        </p:pic>
        <p:pic>
          <p:nvPicPr>
            <p:cNvPr id="614" name="Picture 68" descr="Meridian Health Selects Avantas for Healthcare Enterprise Labor Management  Solutions">
              <a:extLst>
                <a:ext uri="{FF2B5EF4-FFF2-40B4-BE49-F238E27FC236}">
                  <a16:creationId xmlns:a16="http://schemas.microsoft.com/office/drawing/2014/main" id="{3CB7F007-AB7B-3D68-512A-32CF920E820D}"/>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0748533" y="5519878"/>
              <a:ext cx="768577" cy="2595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15" name="Group 614">
            <a:extLst>
              <a:ext uri="{FF2B5EF4-FFF2-40B4-BE49-F238E27FC236}">
                <a16:creationId xmlns:a16="http://schemas.microsoft.com/office/drawing/2014/main" id="{63BB6E27-A085-EEA6-004F-BF1352E3F7BC}"/>
              </a:ext>
            </a:extLst>
          </p:cNvPr>
          <p:cNvGrpSpPr>
            <a:grpSpLocks noChangeAspect="1"/>
          </p:cNvGrpSpPr>
          <p:nvPr/>
        </p:nvGrpSpPr>
        <p:grpSpPr>
          <a:xfrm>
            <a:off x="3242356" y="7889444"/>
            <a:ext cx="1280160" cy="1508427"/>
            <a:chOff x="9057235" y="4732385"/>
            <a:chExt cx="1280160" cy="1508427"/>
          </a:xfrm>
        </p:grpSpPr>
        <p:sp>
          <p:nvSpPr>
            <p:cNvPr id="616" name="Rectangle 615">
              <a:extLst>
                <a:ext uri="{FF2B5EF4-FFF2-40B4-BE49-F238E27FC236}">
                  <a16:creationId xmlns:a16="http://schemas.microsoft.com/office/drawing/2014/main" id="{19BD938F-2BED-72AB-5E7D-31DF87AFD19E}"/>
                </a:ext>
              </a:extLst>
            </p:cNvPr>
            <p:cNvSpPr>
              <a:spLocks noChangeAspect="1"/>
            </p:cNvSpPr>
            <p:nvPr/>
          </p:nvSpPr>
          <p:spPr>
            <a:xfrm>
              <a:off x="9058096" y="4732385"/>
              <a:ext cx="1278438" cy="1508427"/>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7" name="Deal type">
              <a:extLst>
                <a:ext uri="{FF2B5EF4-FFF2-40B4-BE49-F238E27FC236}">
                  <a16:creationId xmlns:a16="http://schemas.microsoft.com/office/drawing/2014/main" id="{0827207B-91AF-C8C0-197D-F341F22AA1CF}"/>
                </a:ext>
              </a:extLst>
            </p:cNvPr>
            <p:cNvSpPr txBox="1">
              <a:spLocks/>
            </p:cNvSpPr>
            <p:nvPr/>
          </p:nvSpPr>
          <p:spPr>
            <a:xfrm>
              <a:off x="9057235" y="5899648"/>
              <a:ext cx="1280160" cy="336142"/>
            </a:xfrm>
            <a:prstGeom prst="rect">
              <a:avLst/>
            </a:prstGeom>
            <a:ln>
              <a:noFill/>
            </a:ln>
          </p:spPr>
          <p:txBody>
            <a:bodyPr vert="horz" wrap="square" lIns="36576" tIns="0" rIns="36576" bIns="64008" rtlCol="0" anchor="b">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HealthHonors</a:t>
              </a:r>
              <a:r>
                <a:rPr lang="en-US" sz="800"/>
                <a:t> on its sale to </a:t>
              </a:r>
              <a:r>
                <a:rPr lang="en-US" sz="800" err="1"/>
                <a:t>Tivity</a:t>
              </a:r>
              <a:r>
                <a:rPr lang="en-US" sz="800"/>
                <a:t> Health</a:t>
              </a:r>
            </a:p>
          </p:txBody>
        </p:sp>
        <p:sp>
          <p:nvSpPr>
            <p:cNvPr id="618" name="Flag_1">
              <a:extLst>
                <a:ext uri="{FF2B5EF4-FFF2-40B4-BE49-F238E27FC236}">
                  <a16:creationId xmlns:a16="http://schemas.microsoft.com/office/drawing/2014/main" id="{74278ECC-DFA2-00B2-7467-67E8CA5EAD37}"/>
                </a:ext>
              </a:extLst>
            </p:cNvPr>
            <p:cNvSpPr txBox="1">
              <a:spLocks noChangeAspect="1"/>
            </p:cNvSpPr>
            <p:nvPr/>
          </p:nvSpPr>
          <p:spPr>
            <a:xfrm>
              <a:off x="10109534" y="4771621"/>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19" name="Picture 72" descr="Tivity Health Acquires Industry Leading Digital Health and Wellness  Platform Burnalong">
              <a:extLst>
                <a:ext uri="{FF2B5EF4-FFF2-40B4-BE49-F238E27FC236}">
                  <a16:creationId xmlns:a16="http://schemas.microsoft.com/office/drawing/2014/main" id="{999A3094-2A7C-B2DC-C3C4-E8DB3F5E84D8}"/>
                </a:ext>
              </a:extLst>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9364339" y="5450323"/>
              <a:ext cx="635187" cy="332481"/>
            </a:xfrm>
            <a:prstGeom prst="rect">
              <a:avLst/>
            </a:prstGeom>
            <a:noFill/>
            <a:extLst>
              <a:ext uri="{909E8E84-426E-40DD-AFC4-6F175D3DCCD1}">
                <a14:hiddenFill xmlns:a14="http://schemas.microsoft.com/office/drawing/2010/main">
                  <a:solidFill>
                    <a:srgbClr val="FFFFFF"/>
                  </a:solidFill>
                </a14:hiddenFill>
              </a:ext>
            </a:extLst>
          </p:spPr>
        </p:pic>
        <p:pic>
          <p:nvPicPr>
            <p:cNvPr id="620" name="Picture 619">
              <a:extLst>
                <a:ext uri="{FF2B5EF4-FFF2-40B4-BE49-F238E27FC236}">
                  <a16:creationId xmlns:a16="http://schemas.microsoft.com/office/drawing/2014/main" id="{762BCC88-EF00-86C7-D0D5-F082AFF9B0C0}"/>
                </a:ext>
              </a:extLst>
            </p:cNvPr>
            <p:cNvPicPr>
              <a:picLocks noChangeAspect="1"/>
            </p:cNvPicPr>
            <p:nvPr/>
          </p:nvPicPr>
          <p:blipFill>
            <a:blip r:embed="rId53"/>
            <a:stretch>
              <a:fillRect/>
            </a:stretch>
          </p:blipFill>
          <p:spPr>
            <a:xfrm>
              <a:off x="9131623" y="5045606"/>
              <a:ext cx="1131384" cy="271222"/>
            </a:xfrm>
            <a:prstGeom prst="rect">
              <a:avLst/>
            </a:prstGeom>
          </p:spPr>
        </p:pic>
      </p:grpSp>
      <p:grpSp>
        <p:nvGrpSpPr>
          <p:cNvPr id="621" name="Group 620">
            <a:extLst>
              <a:ext uri="{FF2B5EF4-FFF2-40B4-BE49-F238E27FC236}">
                <a16:creationId xmlns:a16="http://schemas.microsoft.com/office/drawing/2014/main" id="{19E905E4-4276-4FCD-BF4F-8435FDBF4759}"/>
              </a:ext>
            </a:extLst>
          </p:cNvPr>
          <p:cNvGrpSpPr>
            <a:grpSpLocks noChangeAspect="1"/>
          </p:cNvGrpSpPr>
          <p:nvPr/>
        </p:nvGrpSpPr>
        <p:grpSpPr>
          <a:xfrm>
            <a:off x="3243571" y="4593266"/>
            <a:ext cx="1275715" cy="1508083"/>
            <a:chOff x="6165777" y="2936732"/>
            <a:chExt cx="1275715" cy="1508083"/>
          </a:xfrm>
        </p:grpSpPr>
        <p:sp>
          <p:nvSpPr>
            <p:cNvPr id="622" name="Rectangle 621">
              <a:extLst>
                <a:ext uri="{FF2B5EF4-FFF2-40B4-BE49-F238E27FC236}">
                  <a16:creationId xmlns:a16="http://schemas.microsoft.com/office/drawing/2014/main" id="{3A22B0AB-D6BF-5487-993F-03BBB9506086}"/>
                </a:ext>
              </a:extLst>
            </p:cNvPr>
            <p:cNvSpPr>
              <a:spLocks noChangeAspect="1"/>
            </p:cNvSpPr>
            <p:nvPr/>
          </p:nvSpPr>
          <p:spPr>
            <a:xfrm>
              <a:off x="6166635" y="2936732"/>
              <a:ext cx="1273999" cy="1508083"/>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3" name="Deal type">
              <a:extLst>
                <a:ext uri="{FF2B5EF4-FFF2-40B4-BE49-F238E27FC236}">
                  <a16:creationId xmlns:a16="http://schemas.microsoft.com/office/drawing/2014/main" id="{DA2139A0-B1C5-9301-0D3D-AC2E9E3E909E}"/>
                </a:ext>
              </a:extLst>
            </p:cNvPr>
            <p:cNvSpPr txBox="1">
              <a:spLocks/>
            </p:cNvSpPr>
            <p:nvPr/>
          </p:nvSpPr>
          <p:spPr>
            <a:xfrm>
              <a:off x="6165777" y="4103729"/>
              <a:ext cx="1275715" cy="336066"/>
            </a:xfrm>
            <a:prstGeom prst="rect">
              <a:avLst/>
            </a:prstGeom>
            <a:ln>
              <a:noFill/>
            </a:ln>
          </p:spPr>
          <p:txBody>
            <a:bodyPr vert="horz" wrap="square" lIns="36576" tIns="0" rIns="36576" bIns="64008" rtlCol="0" anchor="b">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Confirma</a:t>
              </a:r>
              <a:r>
                <a:rPr lang="en-US" sz="800"/>
                <a:t> on its sale to </a:t>
              </a:r>
              <a:r>
                <a:rPr lang="en-US" sz="800" err="1"/>
                <a:t>Merative</a:t>
              </a:r>
              <a:endParaRPr lang="en-US" sz="800"/>
            </a:p>
          </p:txBody>
        </p:sp>
        <p:pic>
          <p:nvPicPr>
            <p:cNvPr id="624" name="Picture 623">
              <a:extLst>
                <a:ext uri="{FF2B5EF4-FFF2-40B4-BE49-F238E27FC236}">
                  <a16:creationId xmlns:a16="http://schemas.microsoft.com/office/drawing/2014/main" id="{BB0DB1CE-9BA4-CADF-3B8E-BA73A3E9525C}"/>
                </a:ext>
              </a:extLst>
            </p:cNvPr>
            <p:cNvPicPr>
              <a:picLocks noChangeAspect="1"/>
            </p:cNvPicPr>
            <p:nvPr/>
          </p:nvPicPr>
          <p:blipFill>
            <a:blip r:embed="rId54"/>
            <a:stretch>
              <a:fillRect/>
            </a:stretch>
          </p:blipFill>
          <p:spPr>
            <a:xfrm>
              <a:off x="6377968" y="3702090"/>
              <a:ext cx="795086" cy="279102"/>
            </a:xfrm>
            <a:prstGeom prst="rect">
              <a:avLst/>
            </a:prstGeom>
          </p:spPr>
        </p:pic>
        <p:sp>
          <p:nvSpPr>
            <p:cNvPr id="625" name="Flag_1">
              <a:extLst>
                <a:ext uri="{FF2B5EF4-FFF2-40B4-BE49-F238E27FC236}">
                  <a16:creationId xmlns:a16="http://schemas.microsoft.com/office/drawing/2014/main" id="{8D9EF8F3-6532-D66F-28DC-7CDF52D20338}"/>
                </a:ext>
              </a:extLst>
            </p:cNvPr>
            <p:cNvSpPr txBox="1">
              <a:spLocks noChangeAspect="1"/>
            </p:cNvSpPr>
            <p:nvPr/>
          </p:nvSpPr>
          <p:spPr>
            <a:xfrm>
              <a:off x="7222364" y="2975718"/>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26" name="Picture 625">
              <a:extLst>
                <a:ext uri="{FF2B5EF4-FFF2-40B4-BE49-F238E27FC236}">
                  <a16:creationId xmlns:a16="http://schemas.microsoft.com/office/drawing/2014/main" id="{659BEEEB-9EA7-D08A-AE69-3F527E2ADAF1}"/>
                </a:ext>
              </a:extLst>
            </p:cNvPr>
            <p:cNvPicPr>
              <a:picLocks noChangeAspect="1"/>
            </p:cNvPicPr>
            <p:nvPr/>
          </p:nvPicPr>
          <p:blipFill>
            <a:blip r:embed="rId55"/>
            <a:stretch>
              <a:fillRect/>
            </a:stretch>
          </p:blipFill>
          <p:spPr>
            <a:xfrm>
              <a:off x="6356367" y="3189488"/>
              <a:ext cx="894534" cy="322032"/>
            </a:xfrm>
            <a:prstGeom prst="rect">
              <a:avLst/>
            </a:prstGeom>
          </p:spPr>
        </p:pic>
      </p:grpSp>
      <p:grpSp>
        <p:nvGrpSpPr>
          <p:cNvPr id="627" name="Group 626">
            <a:extLst>
              <a:ext uri="{FF2B5EF4-FFF2-40B4-BE49-F238E27FC236}">
                <a16:creationId xmlns:a16="http://schemas.microsoft.com/office/drawing/2014/main" id="{8C9B19AF-2174-CE5C-7C92-93423C905F84}"/>
              </a:ext>
            </a:extLst>
          </p:cNvPr>
          <p:cNvGrpSpPr>
            <a:grpSpLocks noChangeAspect="1"/>
          </p:cNvGrpSpPr>
          <p:nvPr/>
        </p:nvGrpSpPr>
        <p:grpSpPr>
          <a:xfrm>
            <a:off x="3243571" y="6245902"/>
            <a:ext cx="1276006" cy="1508426"/>
            <a:chOff x="1854605" y="4732385"/>
            <a:chExt cx="1276006" cy="1508426"/>
          </a:xfrm>
        </p:grpSpPr>
        <p:sp>
          <p:nvSpPr>
            <p:cNvPr id="628" name="Rectangle 627">
              <a:extLst>
                <a:ext uri="{FF2B5EF4-FFF2-40B4-BE49-F238E27FC236}">
                  <a16:creationId xmlns:a16="http://schemas.microsoft.com/office/drawing/2014/main" id="{9D9A4DAA-615C-3CC1-FF47-CF3759C4635B}"/>
                </a:ext>
              </a:extLst>
            </p:cNvPr>
            <p:cNvSpPr>
              <a:spLocks noChangeAspect="1"/>
            </p:cNvSpPr>
            <p:nvPr/>
          </p:nvSpPr>
          <p:spPr>
            <a:xfrm>
              <a:off x="1855463" y="4732385"/>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9" name="Deal type">
              <a:extLst>
                <a:ext uri="{FF2B5EF4-FFF2-40B4-BE49-F238E27FC236}">
                  <a16:creationId xmlns:a16="http://schemas.microsoft.com/office/drawing/2014/main" id="{399B6E97-C381-473D-FC9B-74719E1B74F7}"/>
                </a:ext>
              </a:extLst>
            </p:cNvPr>
            <p:cNvSpPr txBox="1">
              <a:spLocks/>
            </p:cNvSpPr>
            <p:nvPr/>
          </p:nvSpPr>
          <p:spPr>
            <a:xfrm>
              <a:off x="1854605" y="5899647"/>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Intelligent Healthcare on its sale to Waystar</a:t>
              </a:r>
            </a:p>
          </p:txBody>
        </p:sp>
        <p:pic>
          <p:nvPicPr>
            <p:cNvPr id="630" name="Picture 629">
              <a:extLst>
                <a:ext uri="{FF2B5EF4-FFF2-40B4-BE49-F238E27FC236}">
                  <a16:creationId xmlns:a16="http://schemas.microsoft.com/office/drawing/2014/main" id="{9769F0B5-A4BC-B6B3-E677-C55CFB11417A}"/>
                </a:ext>
              </a:extLst>
            </p:cNvPr>
            <p:cNvPicPr>
              <a:picLocks noChangeAspect="1"/>
            </p:cNvPicPr>
            <p:nvPr/>
          </p:nvPicPr>
          <p:blipFill>
            <a:blip r:embed="rId56"/>
            <a:stretch>
              <a:fillRect/>
            </a:stretch>
          </p:blipFill>
          <p:spPr>
            <a:xfrm>
              <a:off x="1968717" y="5561112"/>
              <a:ext cx="1047782" cy="175504"/>
            </a:xfrm>
            <a:prstGeom prst="rect">
              <a:avLst/>
            </a:prstGeom>
          </p:spPr>
        </p:pic>
        <p:sp>
          <p:nvSpPr>
            <p:cNvPr id="631" name="Flag_1">
              <a:extLst>
                <a:ext uri="{FF2B5EF4-FFF2-40B4-BE49-F238E27FC236}">
                  <a16:creationId xmlns:a16="http://schemas.microsoft.com/office/drawing/2014/main" id="{141A0A3F-234A-EB7F-3ECA-3BFF184F9DC9}"/>
                </a:ext>
              </a:extLst>
            </p:cNvPr>
            <p:cNvSpPr txBox="1">
              <a:spLocks noChangeAspect="1"/>
            </p:cNvSpPr>
            <p:nvPr/>
          </p:nvSpPr>
          <p:spPr>
            <a:xfrm>
              <a:off x="2906963" y="4771524"/>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32" name="Picture 631" descr="A logo with a person in the middle&#10;&#10;AI-generated content may be incorrect.">
              <a:extLst>
                <a:ext uri="{FF2B5EF4-FFF2-40B4-BE49-F238E27FC236}">
                  <a16:creationId xmlns:a16="http://schemas.microsoft.com/office/drawing/2014/main" id="{4C39C492-C053-F934-2A7E-7D03E1A4F7DE}"/>
                </a:ext>
              </a:extLst>
            </p:cNvPr>
            <p:cNvPicPr>
              <a:picLocks noChangeAspect="1"/>
            </p:cNvPicPr>
            <p:nvPr/>
          </p:nvPicPr>
          <p:blipFill>
            <a:blip r:embed="rId57"/>
            <a:stretch>
              <a:fillRect/>
            </a:stretch>
          </p:blipFill>
          <p:spPr>
            <a:xfrm>
              <a:off x="2050995" y="4956487"/>
              <a:ext cx="883227" cy="484909"/>
            </a:xfrm>
            <a:prstGeom prst="rect">
              <a:avLst/>
            </a:prstGeom>
          </p:spPr>
        </p:pic>
      </p:grpSp>
      <p:grpSp>
        <p:nvGrpSpPr>
          <p:cNvPr id="633" name="Group 632">
            <a:extLst>
              <a:ext uri="{FF2B5EF4-FFF2-40B4-BE49-F238E27FC236}">
                <a16:creationId xmlns:a16="http://schemas.microsoft.com/office/drawing/2014/main" id="{D1681BB1-2FA7-63C3-BB45-B0DC31A29DEF}"/>
              </a:ext>
            </a:extLst>
          </p:cNvPr>
          <p:cNvGrpSpPr/>
          <p:nvPr/>
        </p:nvGrpSpPr>
        <p:grpSpPr>
          <a:xfrm>
            <a:off x="6087366" y="7889445"/>
            <a:ext cx="1276006" cy="1508426"/>
            <a:chOff x="419958" y="1141117"/>
            <a:chExt cx="1276006" cy="1508426"/>
          </a:xfrm>
        </p:grpSpPr>
        <p:sp>
          <p:nvSpPr>
            <p:cNvPr id="634" name="Rectangle 633">
              <a:extLst>
                <a:ext uri="{FF2B5EF4-FFF2-40B4-BE49-F238E27FC236}">
                  <a16:creationId xmlns:a16="http://schemas.microsoft.com/office/drawing/2014/main" id="{3383ECC0-52A8-BE75-62C9-8627DC4F71F4}"/>
                </a:ext>
              </a:extLst>
            </p:cNvPr>
            <p:cNvSpPr>
              <a:spLocks noChangeAspect="1"/>
            </p:cNvSpPr>
            <p:nvPr/>
          </p:nvSpPr>
          <p:spPr>
            <a:xfrm>
              <a:off x="420816" y="1141117"/>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5" name="Deal type">
              <a:extLst>
                <a:ext uri="{FF2B5EF4-FFF2-40B4-BE49-F238E27FC236}">
                  <a16:creationId xmlns:a16="http://schemas.microsoft.com/office/drawing/2014/main" id="{A4DD4B96-4BC7-CAB6-755A-D6B7AE4E1764}"/>
                </a:ext>
              </a:extLst>
            </p:cNvPr>
            <p:cNvSpPr txBox="1">
              <a:spLocks/>
            </p:cNvSpPr>
            <p:nvPr/>
          </p:nvSpPr>
          <p:spPr>
            <a:xfrm>
              <a:off x="419958" y="2308379"/>
              <a:ext cx="1276006" cy="336142"/>
            </a:xfrm>
            <a:prstGeom prst="rect">
              <a:avLst/>
            </a:prstGeom>
            <a:ln>
              <a:noFill/>
            </a:ln>
          </p:spPr>
          <p:txBody>
            <a:bodyPr vert="horz" wrap="square" lIns="36576" tIns="0" rIns="36576" bIns="64008" rtlCol="0" anchor="b">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QualityHealth</a:t>
              </a:r>
              <a:r>
                <a:rPr lang="en-US" sz="800"/>
                <a:t> on its sale to Sharecare</a:t>
              </a:r>
            </a:p>
          </p:txBody>
        </p:sp>
        <p:sp>
          <p:nvSpPr>
            <p:cNvPr id="636" name="Flag_1">
              <a:extLst>
                <a:ext uri="{FF2B5EF4-FFF2-40B4-BE49-F238E27FC236}">
                  <a16:creationId xmlns:a16="http://schemas.microsoft.com/office/drawing/2014/main" id="{E12C7A8C-43B8-0981-C7C2-49A9B78AF404}"/>
                </a:ext>
              </a:extLst>
            </p:cNvPr>
            <p:cNvSpPr txBox="1">
              <a:spLocks noChangeAspect="1"/>
            </p:cNvSpPr>
            <p:nvPr/>
          </p:nvSpPr>
          <p:spPr>
            <a:xfrm>
              <a:off x="1468582" y="1180256"/>
              <a:ext cx="160972" cy="160972"/>
            </a:xfrm>
            <a:prstGeom prst="rect">
              <a:avLst/>
            </a:prstGeom>
            <a:blipFill dpi="0" rotWithShape="1">
              <a:blip r:embed="rId6">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37" name="Picture 76" descr="Altaris completes acquisition of Sharecare">
              <a:extLst>
                <a:ext uri="{FF2B5EF4-FFF2-40B4-BE49-F238E27FC236}">
                  <a16:creationId xmlns:a16="http://schemas.microsoft.com/office/drawing/2014/main" id="{D1BC5543-8040-4DCD-17D3-8AB7617826E6}"/>
                </a:ext>
              </a:extLst>
            </p:cNvPr>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579641" y="1995270"/>
              <a:ext cx="956641" cy="126274"/>
            </a:xfrm>
            <a:prstGeom prst="rect">
              <a:avLst/>
            </a:prstGeom>
            <a:noFill/>
            <a:extLst>
              <a:ext uri="{909E8E84-426E-40DD-AFC4-6F175D3DCCD1}">
                <a14:hiddenFill xmlns:a14="http://schemas.microsoft.com/office/drawing/2010/main">
                  <a:solidFill>
                    <a:srgbClr val="FFFFFF"/>
                  </a:solidFill>
                </a14:hiddenFill>
              </a:ext>
            </a:extLst>
          </p:spPr>
        </p:pic>
        <p:pic>
          <p:nvPicPr>
            <p:cNvPr id="638" name="Picture 74" descr="QualityHealth 2025 Company Profile: Valuation, Investors, Acquisition |  PitchBook">
              <a:extLst>
                <a:ext uri="{FF2B5EF4-FFF2-40B4-BE49-F238E27FC236}">
                  <a16:creationId xmlns:a16="http://schemas.microsoft.com/office/drawing/2014/main" id="{76DD1395-F2C9-2704-4362-27494C41D95E}"/>
                </a:ext>
              </a:extLst>
            </p:cNvPr>
            <p:cNvPicPr>
              <a:picLocks noChangeAspect="1" noChangeArrowheads="1"/>
            </p:cNvPicPr>
            <p:nvPr/>
          </p:nvPicPr>
          <p:blipFill rotWithShape="1">
            <a:blip r:embed="rId59">
              <a:extLst>
                <a:ext uri="{28A0092B-C50C-407E-A947-70E740481C1C}">
                  <a14:useLocalDpi xmlns:a14="http://schemas.microsoft.com/office/drawing/2010/main" val="0"/>
                </a:ext>
              </a:extLst>
            </a:blip>
            <a:srcRect t="34709" b="34709"/>
            <a:stretch/>
          </p:blipFill>
          <p:spPr bwMode="auto">
            <a:xfrm>
              <a:off x="613613" y="1483050"/>
              <a:ext cx="888696" cy="27178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825213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F8078-5CA1-08DE-200E-CD4244960298}"/>
            </a:ext>
          </a:extLst>
        </p:cNvPr>
        <p:cNvGrpSpPr/>
        <p:nvPr/>
      </p:nvGrpSpPr>
      <p:grpSpPr>
        <a:xfrm>
          <a:off x="0" y="0"/>
          <a:ext cx="0" cy="0"/>
          <a:chOff x="0" y="0"/>
          <a:chExt cx="0" cy="0"/>
        </a:xfrm>
      </p:grpSpPr>
      <p:sp>
        <p:nvSpPr>
          <p:cNvPr id="31" name="TextBox 30">
            <a:extLst>
              <a:ext uri="{FF2B5EF4-FFF2-40B4-BE49-F238E27FC236}">
                <a16:creationId xmlns:a16="http://schemas.microsoft.com/office/drawing/2014/main" id="{D623862B-DCA6-2E7B-CC93-05D96E65E548}"/>
              </a:ext>
            </a:extLst>
          </p:cNvPr>
          <p:cNvSpPr txBox="1"/>
          <p:nvPr/>
        </p:nvSpPr>
        <p:spPr>
          <a:xfrm flipH="1">
            <a:off x="406908" y="725540"/>
            <a:ext cx="6958584" cy="384721"/>
          </a:xfrm>
          <a:prstGeom prst="rect">
            <a:avLst/>
          </a:prstGeom>
          <a:noFill/>
        </p:spPr>
        <p:txBody>
          <a:bodyPr wrap="square" lIns="0" tIns="0" rIns="0" bIns="0" rtlCol="0">
            <a:spAutoFit/>
          </a:bodyPr>
          <a:lstStyle/>
          <a:p>
            <a:r>
              <a:rPr lang="en-US" sz="2500" dirty="0">
                <a:solidFill>
                  <a:schemeClr val="accent1"/>
                </a:solidFill>
                <a:latin typeface="FS Joey" panose="02000506040000020004" pitchFamily="50" charset="0"/>
              </a:rPr>
              <a:t>Alantra – Select HealthTech Transactions</a:t>
            </a:r>
          </a:p>
        </p:txBody>
      </p:sp>
      <p:graphicFrame>
        <p:nvGraphicFramePr>
          <p:cNvPr id="2" name="Table 2">
            <a:extLst>
              <a:ext uri="{FF2B5EF4-FFF2-40B4-BE49-F238E27FC236}">
                <a16:creationId xmlns:a16="http://schemas.microsoft.com/office/drawing/2014/main" id="{6F29FB51-9DAD-1F3F-C744-D0B1A4664860}"/>
              </a:ext>
            </a:extLst>
          </p:cNvPr>
          <p:cNvGraphicFramePr>
            <a:graphicFrameLocks noGrp="1"/>
          </p:cNvGraphicFramePr>
          <p:nvPr>
            <p:extLst>
              <p:ext uri="{D42A27DB-BD31-4B8C-83A1-F6EECF244321}">
                <p14:modId xmlns:p14="http://schemas.microsoft.com/office/powerpoint/2010/main" val="2936249206"/>
              </p:ext>
            </p:extLst>
          </p:nvPr>
        </p:nvGraphicFramePr>
        <p:xfrm>
          <a:off x="406908" y="318008"/>
          <a:ext cx="6958584" cy="201168"/>
        </p:xfrm>
        <a:graphic>
          <a:graphicData uri="http://schemas.openxmlformats.org/drawingml/2006/table">
            <a:tbl>
              <a:tblPr firstRow="1" bandRow="1">
                <a:tableStyleId>{2D5ABB26-0587-4C30-8999-92F81FD0307C}</a:tableStyleId>
              </a:tblPr>
              <a:tblGrid>
                <a:gridCol w="4327652">
                  <a:extLst>
                    <a:ext uri="{9D8B030D-6E8A-4147-A177-3AD203B41FA5}">
                      <a16:colId xmlns:a16="http://schemas.microsoft.com/office/drawing/2014/main" val="1800358546"/>
                    </a:ext>
                  </a:extLst>
                </a:gridCol>
                <a:gridCol w="1564640">
                  <a:extLst>
                    <a:ext uri="{9D8B030D-6E8A-4147-A177-3AD203B41FA5}">
                      <a16:colId xmlns:a16="http://schemas.microsoft.com/office/drawing/2014/main" val="2602549205"/>
                    </a:ext>
                  </a:extLst>
                </a:gridCol>
                <a:gridCol w="1066292">
                  <a:extLst>
                    <a:ext uri="{9D8B030D-6E8A-4147-A177-3AD203B41FA5}">
                      <a16:colId xmlns:a16="http://schemas.microsoft.com/office/drawing/2014/main" val="52187482"/>
                    </a:ext>
                  </a:extLst>
                </a:gridCol>
              </a:tblGrid>
              <a:tr h="17399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latin typeface="+mn-lt"/>
                        </a:rPr>
                        <a:t>Reinserting Capitalism into Healthcare with Elan Adler, CEO of </a:t>
                      </a:r>
                      <a:r>
                        <a:rPr lang="en-US" sz="900" dirty="0" err="1">
                          <a:latin typeface="+mn-lt"/>
                        </a:rPr>
                        <a:t>OneImaging</a:t>
                      </a:r>
                      <a:endParaRPr lang="en-US" sz="900" dirty="0">
                        <a:latin typeface="+mn-lt"/>
                      </a:endParaRPr>
                    </a:p>
                  </a:txBody>
                  <a:tcPr marL="0" marR="0" marT="0" marB="64008"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latin typeface="+mn-lt"/>
                        </a:rPr>
                        <a:t>Podcast Episode Release</a:t>
                      </a:r>
                    </a:p>
                  </a:txBody>
                  <a:tcPr marR="0" marT="0" marB="64008" anchor="b">
                    <a:lnL w="9525" cap="flat" cmpd="sng" algn="ctr">
                      <a:solidFill>
                        <a:schemeClr val="tx1"/>
                      </a:solidFill>
                      <a:prstDash val="solid"/>
                      <a:round/>
                      <a:headEnd type="none" w="med" len="med"/>
                      <a:tailEnd type="none" w="med" len="med"/>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77240" rtl="0" eaLnBrk="1" fontAlgn="auto" latinLnBrk="0" hangingPunct="1">
                        <a:lnSpc>
                          <a:spcPct val="100000"/>
                        </a:lnSpc>
                        <a:spcBef>
                          <a:spcPts val="0"/>
                        </a:spcBef>
                        <a:spcAft>
                          <a:spcPts val="0"/>
                        </a:spcAft>
                        <a:buClrTx/>
                        <a:buSzTx/>
                        <a:buFontTx/>
                        <a:buNone/>
                        <a:tabLst/>
                        <a:defRPr/>
                      </a:pPr>
                      <a:r>
                        <a:rPr lang="en-US" sz="900" dirty="0"/>
                        <a:t>12</a:t>
                      </a:r>
                    </a:p>
                  </a:txBody>
                  <a:tcPr marL="0" marR="0" marT="0" marB="64008" anchor="b">
                    <a:lnL>
                      <a:noFill/>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6628539"/>
                  </a:ext>
                </a:extLst>
              </a:tr>
            </a:tbl>
          </a:graphicData>
        </a:graphic>
      </p:graphicFrame>
      <p:grpSp>
        <p:nvGrpSpPr>
          <p:cNvPr id="639" name="Group 638">
            <a:extLst>
              <a:ext uri="{FF2B5EF4-FFF2-40B4-BE49-F238E27FC236}">
                <a16:creationId xmlns:a16="http://schemas.microsoft.com/office/drawing/2014/main" id="{725F1BC9-F23F-9BEB-AF5B-81C1D8161229}"/>
              </a:ext>
            </a:extLst>
          </p:cNvPr>
          <p:cNvGrpSpPr/>
          <p:nvPr/>
        </p:nvGrpSpPr>
        <p:grpSpPr>
          <a:xfrm>
            <a:off x="1825822" y="1327858"/>
            <a:ext cx="1281032" cy="1508426"/>
            <a:chOff x="3290968" y="1141117"/>
            <a:chExt cx="1281032" cy="1508426"/>
          </a:xfrm>
        </p:grpSpPr>
        <p:sp>
          <p:nvSpPr>
            <p:cNvPr id="640" name="Rectangle 639">
              <a:extLst>
                <a:ext uri="{FF2B5EF4-FFF2-40B4-BE49-F238E27FC236}">
                  <a16:creationId xmlns:a16="http://schemas.microsoft.com/office/drawing/2014/main" id="{78308D21-4DA2-8B08-9131-00E6E0ADA2E1}"/>
                </a:ext>
              </a:extLst>
            </p:cNvPr>
            <p:cNvSpPr>
              <a:spLocks noChangeAspect="1"/>
            </p:cNvSpPr>
            <p:nvPr/>
          </p:nvSpPr>
          <p:spPr>
            <a:xfrm>
              <a:off x="3290968" y="1141117"/>
              <a:ext cx="1274289"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1" name="Deal type">
              <a:extLst>
                <a:ext uri="{FF2B5EF4-FFF2-40B4-BE49-F238E27FC236}">
                  <a16:creationId xmlns:a16="http://schemas.microsoft.com/office/drawing/2014/main" id="{AB8F863A-3B0C-EE6F-72E4-2F8985B0BB66}"/>
                </a:ext>
              </a:extLst>
            </p:cNvPr>
            <p:cNvSpPr txBox="1">
              <a:spLocks/>
            </p:cNvSpPr>
            <p:nvPr/>
          </p:nvSpPr>
          <p:spPr>
            <a:xfrm>
              <a:off x="3301465" y="2308379"/>
              <a:ext cx="1270535"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dirty="0"/>
                <a:t>Advisor to Quality Care Solution on its sale to Cognizant</a:t>
              </a:r>
            </a:p>
          </p:txBody>
        </p:sp>
        <p:sp>
          <p:nvSpPr>
            <p:cNvPr id="642" name="Flag_1">
              <a:extLst>
                <a:ext uri="{FF2B5EF4-FFF2-40B4-BE49-F238E27FC236}">
                  <a16:creationId xmlns:a16="http://schemas.microsoft.com/office/drawing/2014/main" id="{2618AAD4-3FFE-7FA9-BFB7-1DF256ED4F11}"/>
                </a:ext>
              </a:extLst>
            </p:cNvPr>
            <p:cNvSpPr txBox="1">
              <a:spLocks noChangeAspect="1"/>
            </p:cNvSpPr>
            <p:nvPr/>
          </p:nvSpPr>
          <p:spPr>
            <a:xfrm>
              <a:off x="4344004" y="1180255"/>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43" name="Imagen 117">
              <a:extLst>
                <a:ext uri="{FF2B5EF4-FFF2-40B4-BE49-F238E27FC236}">
                  <a16:creationId xmlns:a16="http://schemas.microsoft.com/office/drawing/2014/main" id="{24121DBA-9ABF-F444-E1F4-989808C6EA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38111" y="1180255"/>
              <a:ext cx="164592" cy="164592"/>
            </a:xfrm>
            <a:prstGeom prst="rect">
              <a:avLst/>
            </a:prstGeom>
          </p:spPr>
        </p:pic>
        <p:pic>
          <p:nvPicPr>
            <p:cNvPr id="644" name="Picture 88" descr="Cognizant to Change Salesforce Customer Experience | Provar">
              <a:extLst>
                <a:ext uri="{FF2B5EF4-FFF2-40B4-BE49-F238E27FC236}">
                  <a16:creationId xmlns:a16="http://schemas.microsoft.com/office/drawing/2014/main" id="{56EF2944-307F-918B-AFC1-0A6658F1956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5358" b="15358"/>
            <a:stretch/>
          </p:blipFill>
          <p:spPr bwMode="auto">
            <a:xfrm>
              <a:off x="3416624" y="1984042"/>
              <a:ext cx="1022976" cy="192231"/>
            </a:xfrm>
            <a:prstGeom prst="rect">
              <a:avLst/>
            </a:prstGeom>
            <a:noFill/>
            <a:extLst>
              <a:ext uri="{909E8E84-426E-40DD-AFC4-6F175D3DCCD1}">
                <a14:hiddenFill xmlns:a14="http://schemas.microsoft.com/office/drawing/2010/main">
                  <a:solidFill>
                    <a:srgbClr val="FFFFFF"/>
                  </a:solidFill>
                </a14:hiddenFill>
              </a:ext>
            </a:extLst>
          </p:spPr>
        </p:pic>
        <p:pic>
          <p:nvPicPr>
            <p:cNvPr id="645" name="Picture 86" descr="QCS Homepage">
              <a:extLst>
                <a:ext uri="{FF2B5EF4-FFF2-40B4-BE49-F238E27FC236}">
                  <a16:creationId xmlns:a16="http://schemas.microsoft.com/office/drawing/2014/main" id="{CD4B85C7-7874-A286-7008-7C23DF892C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31666" y="1488772"/>
              <a:ext cx="992892" cy="2605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6" name="Group 645">
            <a:extLst>
              <a:ext uri="{FF2B5EF4-FFF2-40B4-BE49-F238E27FC236}">
                <a16:creationId xmlns:a16="http://schemas.microsoft.com/office/drawing/2014/main" id="{4E3644E2-359E-2A93-7DCC-816FDC616C9A}"/>
              </a:ext>
            </a:extLst>
          </p:cNvPr>
          <p:cNvGrpSpPr/>
          <p:nvPr/>
        </p:nvGrpSpPr>
        <p:grpSpPr>
          <a:xfrm>
            <a:off x="3247727" y="1327685"/>
            <a:ext cx="1276864" cy="1508426"/>
            <a:chOff x="4731130" y="1141117"/>
            <a:chExt cx="1276864" cy="1508426"/>
          </a:xfrm>
        </p:grpSpPr>
        <p:sp>
          <p:nvSpPr>
            <p:cNvPr id="647" name="Rectangle 646">
              <a:extLst>
                <a:ext uri="{FF2B5EF4-FFF2-40B4-BE49-F238E27FC236}">
                  <a16:creationId xmlns:a16="http://schemas.microsoft.com/office/drawing/2014/main" id="{ECAA442A-2D19-1860-0ED6-9A727BB56761}"/>
                </a:ext>
              </a:extLst>
            </p:cNvPr>
            <p:cNvSpPr>
              <a:spLocks noChangeAspect="1"/>
            </p:cNvSpPr>
            <p:nvPr/>
          </p:nvSpPr>
          <p:spPr>
            <a:xfrm>
              <a:off x="4731130" y="1141117"/>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8" name="Deal type">
              <a:extLst>
                <a:ext uri="{FF2B5EF4-FFF2-40B4-BE49-F238E27FC236}">
                  <a16:creationId xmlns:a16="http://schemas.microsoft.com/office/drawing/2014/main" id="{1E1E1B75-39D0-37DE-1728-15F1A05D3EA9}"/>
                </a:ext>
              </a:extLst>
            </p:cNvPr>
            <p:cNvSpPr txBox="1">
              <a:spLocks/>
            </p:cNvSpPr>
            <p:nvPr/>
          </p:nvSpPr>
          <p:spPr>
            <a:xfrm>
              <a:off x="4731988" y="2308379"/>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Franco Signor on its recap by BV Investment Partners</a:t>
              </a:r>
            </a:p>
          </p:txBody>
        </p:sp>
        <p:sp>
          <p:nvSpPr>
            <p:cNvPr id="649" name="Flag_1">
              <a:extLst>
                <a:ext uri="{FF2B5EF4-FFF2-40B4-BE49-F238E27FC236}">
                  <a16:creationId xmlns:a16="http://schemas.microsoft.com/office/drawing/2014/main" id="{2EA350AB-E22F-DFDA-24B6-986F55D0C7AC}"/>
                </a:ext>
              </a:extLst>
            </p:cNvPr>
            <p:cNvSpPr txBox="1">
              <a:spLocks noChangeAspect="1"/>
            </p:cNvSpPr>
            <p:nvPr/>
          </p:nvSpPr>
          <p:spPr>
            <a:xfrm>
              <a:off x="5780611" y="1180255"/>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50" name="Picture 649">
              <a:extLst>
                <a:ext uri="{FF2B5EF4-FFF2-40B4-BE49-F238E27FC236}">
                  <a16:creationId xmlns:a16="http://schemas.microsoft.com/office/drawing/2014/main" id="{90C69454-DBEC-7022-701F-2C16588DED1E}"/>
                </a:ext>
              </a:extLst>
            </p:cNvPr>
            <p:cNvPicPr>
              <a:picLocks noChangeAspect="1"/>
            </p:cNvPicPr>
            <p:nvPr/>
          </p:nvPicPr>
          <p:blipFill>
            <a:blip r:embed="rId7"/>
            <a:stretch>
              <a:fillRect/>
            </a:stretch>
          </p:blipFill>
          <p:spPr>
            <a:xfrm>
              <a:off x="4887248" y="1477722"/>
              <a:ext cx="962055" cy="170944"/>
            </a:xfrm>
            <a:prstGeom prst="rect">
              <a:avLst/>
            </a:prstGeom>
          </p:spPr>
        </p:pic>
        <p:pic>
          <p:nvPicPr>
            <p:cNvPr id="651" name="Picture 650">
              <a:extLst>
                <a:ext uri="{FF2B5EF4-FFF2-40B4-BE49-F238E27FC236}">
                  <a16:creationId xmlns:a16="http://schemas.microsoft.com/office/drawing/2014/main" id="{195F8661-72F9-4076-EDA8-BC367C8E834D}"/>
                </a:ext>
              </a:extLst>
            </p:cNvPr>
            <p:cNvPicPr>
              <a:picLocks noChangeAspect="1"/>
            </p:cNvPicPr>
            <p:nvPr/>
          </p:nvPicPr>
          <p:blipFill>
            <a:blip r:embed="rId8"/>
            <a:stretch>
              <a:fillRect/>
            </a:stretch>
          </p:blipFill>
          <p:spPr>
            <a:xfrm>
              <a:off x="4930978" y="1880103"/>
              <a:ext cx="874595" cy="323165"/>
            </a:xfrm>
            <a:prstGeom prst="rect">
              <a:avLst/>
            </a:prstGeom>
          </p:spPr>
        </p:pic>
      </p:grpSp>
      <p:grpSp>
        <p:nvGrpSpPr>
          <p:cNvPr id="652" name="Group 651">
            <a:extLst>
              <a:ext uri="{FF2B5EF4-FFF2-40B4-BE49-F238E27FC236}">
                <a16:creationId xmlns:a16="http://schemas.microsoft.com/office/drawing/2014/main" id="{C92EA8B5-0E68-8FB1-D08D-9C39C17FCE93}"/>
              </a:ext>
            </a:extLst>
          </p:cNvPr>
          <p:cNvGrpSpPr/>
          <p:nvPr/>
        </p:nvGrpSpPr>
        <p:grpSpPr>
          <a:xfrm>
            <a:off x="6087366" y="1327686"/>
            <a:ext cx="1280160" cy="1508427"/>
            <a:chOff x="7618432" y="1141117"/>
            <a:chExt cx="1280160" cy="1508427"/>
          </a:xfrm>
        </p:grpSpPr>
        <p:sp>
          <p:nvSpPr>
            <p:cNvPr id="653" name="Rectangle 652">
              <a:extLst>
                <a:ext uri="{FF2B5EF4-FFF2-40B4-BE49-F238E27FC236}">
                  <a16:creationId xmlns:a16="http://schemas.microsoft.com/office/drawing/2014/main" id="{F47CD6C9-D69F-6D7F-D374-FCA6FC98AE29}"/>
                </a:ext>
              </a:extLst>
            </p:cNvPr>
            <p:cNvSpPr>
              <a:spLocks noChangeAspect="1"/>
            </p:cNvSpPr>
            <p:nvPr/>
          </p:nvSpPr>
          <p:spPr>
            <a:xfrm>
              <a:off x="7619293" y="1141117"/>
              <a:ext cx="1278438" cy="1508427"/>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4" name="Deal type">
              <a:extLst>
                <a:ext uri="{FF2B5EF4-FFF2-40B4-BE49-F238E27FC236}">
                  <a16:creationId xmlns:a16="http://schemas.microsoft.com/office/drawing/2014/main" id="{FCADFC2C-BBB4-5CD6-B3AE-13040F05340D}"/>
                </a:ext>
              </a:extLst>
            </p:cNvPr>
            <p:cNvSpPr txBox="1">
              <a:spLocks/>
            </p:cNvSpPr>
            <p:nvPr/>
          </p:nvSpPr>
          <p:spPr>
            <a:xfrm>
              <a:off x="7618432" y="2308380"/>
              <a:ext cx="1280160"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Prematics</a:t>
              </a:r>
              <a:r>
                <a:rPr lang="en-US" sz="800"/>
                <a:t> on its sale to </a:t>
              </a:r>
              <a:r>
                <a:rPr lang="en-US" sz="800" err="1"/>
                <a:t>NantHealth</a:t>
              </a:r>
              <a:endParaRPr lang="en-US" sz="800"/>
            </a:p>
          </p:txBody>
        </p:sp>
        <p:sp>
          <p:nvSpPr>
            <p:cNvPr id="655" name="Flag_1">
              <a:extLst>
                <a:ext uri="{FF2B5EF4-FFF2-40B4-BE49-F238E27FC236}">
                  <a16:creationId xmlns:a16="http://schemas.microsoft.com/office/drawing/2014/main" id="{7C2BEB87-4205-AF3F-69BE-7776C0AE0162}"/>
                </a:ext>
              </a:extLst>
            </p:cNvPr>
            <p:cNvSpPr txBox="1">
              <a:spLocks noChangeAspect="1"/>
            </p:cNvSpPr>
            <p:nvPr/>
          </p:nvSpPr>
          <p:spPr>
            <a:xfrm>
              <a:off x="8670731" y="1180255"/>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56" name="Picture 78" descr="Prematics | LinkedIn">
              <a:extLst>
                <a:ext uri="{FF2B5EF4-FFF2-40B4-BE49-F238E27FC236}">
                  <a16:creationId xmlns:a16="http://schemas.microsoft.com/office/drawing/2014/main" id="{8DFBE21E-2AB1-C884-8B4D-61B7E510E0F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9909" t="35507" r="170" b="44109"/>
            <a:stretch/>
          </p:blipFill>
          <p:spPr bwMode="auto">
            <a:xfrm>
              <a:off x="7775046" y="1509427"/>
              <a:ext cx="966932" cy="219195"/>
            </a:xfrm>
            <a:prstGeom prst="rect">
              <a:avLst/>
            </a:prstGeom>
            <a:noFill/>
            <a:extLst>
              <a:ext uri="{909E8E84-426E-40DD-AFC4-6F175D3DCCD1}">
                <a14:hiddenFill xmlns:a14="http://schemas.microsoft.com/office/drawing/2010/main">
                  <a:solidFill>
                    <a:srgbClr val="FFFFFF"/>
                  </a:solidFill>
                </a14:hiddenFill>
              </a:ext>
            </a:extLst>
          </p:spPr>
        </p:pic>
        <p:pic>
          <p:nvPicPr>
            <p:cNvPr id="657" name="Picture 80" descr="NantHealth | Technology that Simplifies Healthcare.">
              <a:extLst>
                <a:ext uri="{FF2B5EF4-FFF2-40B4-BE49-F238E27FC236}">
                  <a16:creationId xmlns:a16="http://schemas.microsoft.com/office/drawing/2014/main" id="{C9DD64A2-F9B3-1211-78A9-13BFA2F66E3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789" t="22306" r="12009" b="21214"/>
            <a:stretch/>
          </p:blipFill>
          <p:spPr bwMode="auto">
            <a:xfrm>
              <a:off x="7754481" y="1901191"/>
              <a:ext cx="1008062" cy="2809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58" name="Group 657">
            <a:extLst>
              <a:ext uri="{FF2B5EF4-FFF2-40B4-BE49-F238E27FC236}">
                <a16:creationId xmlns:a16="http://schemas.microsoft.com/office/drawing/2014/main" id="{F172E622-0B79-CB35-5D8D-6ADA29343826}"/>
              </a:ext>
            </a:extLst>
          </p:cNvPr>
          <p:cNvGrpSpPr/>
          <p:nvPr/>
        </p:nvGrpSpPr>
        <p:grpSpPr>
          <a:xfrm>
            <a:off x="1823429" y="2949359"/>
            <a:ext cx="1280160" cy="1508427"/>
            <a:chOff x="9058093" y="1141117"/>
            <a:chExt cx="1280160" cy="1508427"/>
          </a:xfrm>
        </p:grpSpPr>
        <p:sp>
          <p:nvSpPr>
            <p:cNvPr id="659" name="Rectangle 658">
              <a:extLst>
                <a:ext uri="{FF2B5EF4-FFF2-40B4-BE49-F238E27FC236}">
                  <a16:creationId xmlns:a16="http://schemas.microsoft.com/office/drawing/2014/main" id="{0AE56840-8B6C-E340-DE4A-0DFD7F2FB5AB}"/>
                </a:ext>
              </a:extLst>
            </p:cNvPr>
            <p:cNvSpPr>
              <a:spLocks noChangeAspect="1"/>
            </p:cNvSpPr>
            <p:nvPr/>
          </p:nvSpPr>
          <p:spPr>
            <a:xfrm>
              <a:off x="9058954" y="1141117"/>
              <a:ext cx="1278438" cy="1508427"/>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0" name="Deal type">
              <a:extLst>
                <a:ext uri="{FF2B5EF4-FFF2-40B4-BE49-F238E27FC236}">
                  <a16:creationId xmlns:a16="http://schemas.microsoft.com/office/drawing/2014/main" id="{ED69F029-FD2A-F75D-98D1-4B6DFD574A4F}"/>
                </a:ext>
              </a:extLst>
            </p:cNvPr>
            <p:cNvSpPr txBox="1">
              <a:spLocks/>
            </p:cNvSpPr>
            <p:nvPr/>
          </p:nvSpPr>
          <p:spPr>
            <a:xfrm>
              <a:off x="9058093" y="2308380"/>
              <a:ext cx="1280160"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nju on its sale </a:t>
              </a:r>
              <a:br>
                <a:rPr lang="en-US" sz="800"/>
              </a:br>
              <a:r>
                <a:rPr lang="en-US" sz="800"/>
                <a:t>to </a:t>
              </a:r>
              <a:r>
                <a:rPr lang="en-US" sz="800" err="1"/>
                <a:t>Valsoft</a:t>
              </a:r>
              <a:endParaRPr lang="en-US" sz="800"/>
            </a:p>
          </p:txBody>
        </p:sp>
        <p:sp>
          <p:nvSpPr>
            <p:cNvPr id="661" name="Flag_1">
              <a:extLst>
                <a:ext uri="{FF2B5EF4-FFF2-40B4-BE49-F238E27FC236}">
                  <a16:creationId xmlns:a16="http://schemas.microsoft.com/office/drawing/2014/main" id="{3E89E161-83EF-75D7-5663-FCFE0206D393}"/>
                </a:ext>
              </a:extLst>
            </p:cNvPr>
            <p:cNvSpPr txBox="1">
              <a:spLocks noChangeAspect="1"/>
            </p:cNvSpPr>
            <p:nvPr/>
          </p:nvSpPr>
          <p:spPr>
            <a:xfrm>
              <a:off x="9906108" y="1181377"/>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62" name="Picture 661">
              <a:extLst>
                <a:ext uri="{FF2B5EF4-FFF2-40B4-BE49-F238E27FC236}">
                  <a16:creationId xmlns:a16="http://schemas.microsoft.com/office/drawing/2014/main" id="{7CE2504B-A83E-9023-59A0-442939F98478}"/>
                </a:ext>
              </a:extLst>
            </p:cNvPr>
            <p:cNvPicPr>
              <a:picLocks noChangeAspect="1"/>
            </p:cNvPicPr>
            <p:nvPr/>
          </p:nvPicPr>
          <p:blipFill>
            <a:blip r:embed="rId11"/>
            <a:stretch>
              <a:fillRect/>
            </a:stretch>
          </p:blipFill>
          <p:spPr>
            <a:xfrm>
              <a:off x="9336771" y="1507662"/>
              <a:ext cx="722805" cy="238525"/>
            </a:xfrm>
            <a:prstGeom prst="rect">
              <a:avLst/>
            </a:prstGeom>
          </p:spPr>
        </p:pic>
        <p:pic>
          <p:nvPicPr>
            <p:cNvPr id="663" name="Imagen 117">
              <a:extLst>
                <a:ext uri="{FF2B5EF4-FFF2-40B4-BE49-F238E27FC236}">
                  <a16:creationId xmlns:a16="http://schemas.microsoft.com/office/drawing/2014/main" id="{B6D7CD6B-79EC-E995-0B13-15B7AF1C0A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08344" y="1179920"/>
              <a:ext cx="164592" cy="164592"/>
            </a:xfrm>
            <a:prstGeom prst="rect">
              <a:avLst/>
            </a:prstGeom>
          </p:spPr>
        </p:pic>
        <p:pic>
          <p:nvPicPr>
            <p:cNvPr id="664" name="Picture 663">
              <a:extLst>
                <a:ext uri="{FF2B5EF4-FFF2-40B4-BE49-F238E27FC236}">
                  <a16:creationId xmlns:a16="http://schemas.microsoft.com/office/drawing/2014/main" id="{53A770C3-6209-4438-B66D-CF357D815362}"/>
                </a:ext>
              </a:extLst>
            </p:cNvPr>
            <p:cNvPicPr>
              <a:picLocks noChangeAspect="1"/>
            </p:cNvPicPr>
            <p:nvPr/>
          </p:nvPicPr>
          <p:blipFill>
            <a:blip r:embed="rId12"/>
            <a:stretch>
              <a:fillRect/>
            </a:stretch>
          </p:blipFill>
          <p:spPr>
            <a:xfrm>
              <a:off x="9217146" y="1938150"/>
              <a:ext cx="962055" cy="240514"/>
            </a:xfrm>
            <a:prstGeom prst="rect">
              <a:avLst/>
            </a:prstGeom>
          </p:spPr>
        </p:pic>
      </p:grpSp>
      <p:grpSp>
        <p:nvGrpSpPr>
          <p:cNvPr id="665" name="Group 664">
            <a:extLst>
              <a:ext uri="{FF2B5EF4-FFF2-40B4-BE49-F238E27FC236}">
                <a16:creationId xmlns:a16="http://schemas.microsoft.com/office/drawing/2014/main" id="{B862D5A3-EC54-955C-45DC-F9BC8677599D}"/>
              </a:ext>
            </a:extLst>
          </p:cNvPr>
          <p:cNvGrpSpPr/>
          <p:nvPr/>
        </p:nvGrpSpPr>
        <p:grpSpPr>
          <a:xfrm>
            <a:off x="406868" y="2949550"/>
            <a:ext cx="1276006" cy="1508426"/>
            <a:chOff x="419100" y="2936751"/>
            <a:chExt cx="1276006" cy="1508426"/>
          </a:xfrm>
        </p:grpSpPr>
        <p:sp>
          <p:nvSpPr>
            <p:cNvPr id="666" name="Rectangle 665">
              <a:extLst>
                <a:ext uri="{FF2B5EF4-FFF2-40B4-BE49-F238E27FC236}">
                  <a16:creationId xmlns:a16="http://schemas.microsoft.com/office/drawing/2014/main" id="{8EECE9A2-A8ED-C3BF-25F6-F361CEF64807}"/>
                </a:ext>
              </a:extLst>
            </p:cNvPr>
            <p:cNvSpPr>
              <a:spLocks noChangeAspect="1"/>
            </p:cNvSpPr>
            <p:nvPr/>
          </p:nvSpPr>
          <p:spPr>
            <a:xfrm>
              <a:off x="419958" y="2936751"/>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7" name="Deal type">
              <a:extLst>
                <a:ext uri="{FF2B5EF4-FFF2-40B4-BE49-F238E27FC236}">
                  <a16:creationId xmlns:a16="http://schemas.microsoft.com/office/drawing/2014/main" id="{0A0094BC-4746-76E8-671E-1626DE8C734B}"/>
                </a:ext>
              </a:extLst>
            </p:cNvPr>
            <p:cNvSpPr txBox="1">
              <a:spLocks/>
            </p:cNvSpPr>
            <p:nvPr/>
          </p:nvSpPr>
          <p:spPr>
            <a:xfrm>
              <a:off x="419100" y="4104013"/>
              <a:ext cx="1276006"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TruTag</a:t>
              </a:r>
              <a:r>
                <a:rPr lang="en-US" sz="800"/>
                <a:t> on its recap by CIC Capital Ventures</a:t>
              </a:r>
            </a:p>
          </p:txBody>
        </p:sp>
        <p:sp>
          <p:nvSpPr>
            <p:cNvPr id="668" name="Flag_1">
              <a:extLst>
                <a:ext uri="{FF2B5EF4-FFF2-40B4-BE49-F238E27FC236}">
                  <a16:creationId xmlns:a16="http://schemas.microsoft.com/office/drawing/2014/main" id="{5849C9C5-D57D-EB7F-7BD3-F6FD6AE6D22E}"/>
                </a:ext>
              </a:extLst>
            </p:cNvPr>
            <p:cNvSpPr txBox="1">
              <a:spLocks noChangeAspect="1"/>
            </p:cNvSpPr>
            <p:nvPr/>
          </p:nvSpPr>
          <p:spPr>
            <a:xfrm>
              <a:off x="1263641" y="2974080"/>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69" name="Picture 100" descr="SecuringIndustry.com - TruTag Technologies">
              <a:extLst>
                <a:ext uri="{FF2B5EF4-FFF2-40B4-BE49-F238E27FC236}">
                  <a16:creationId xmlns:a16="http://schemas.microsoft.com/office/drawing/2014/main" id="{B56A30CA-AAEB-4E5C-B7F6-2E45A88E4FF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21576" y="3258182"/>
              <a:ext cx="871054" cy="232170"/>
            </a:xfrm>
            <a:prstGeom prst="rect">
              <a:avLst/>
            </a:prstGeom>
            <a:noFill/>
            <a:extLst>
              <a:ext uri="{909E8E84-426E-40DD-AFC4-6F175D3DCCD1}">
                <a14:hiddenFill xmlns:a14="http://schemas.microsoft.com/office/drawing/2010/main">
                  <a:solidFill>
                    <a:srgbClr val="FFFFFF"/>
                  </a:solidFill>
                </a14:hiddenFill>
              </a:ext>
            </a:extLst>
          </p:spPr>
        </p:pic>
        <p:pic>
          <p:nvPicPr>
            <p:cNvPr id="670" name="Picture 102" descr="BlueLight Analytics Secures $3 Million Investment Led by">
              <a:extLst>
                <a:ext uri="{FF2B5EF4-FFF2-40B4-BE49-F238E27FC236}">
                  <a16:creationId xmlns:a16="http://schemas.microsoft.com/office/drawing/2014/main" id="{06D8EFD6-071D-A7F8-60A9-E95C6A6B666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27582" y="3677243"/>
              <a:ext cx="1059042" cy="283166"/>
            </a:xfrm>
            <a:prstGeom prst="rect">
              <a:avLst/>
            </a:prstGeom>
            <a:noFill/>
            <a:extLst>
              <a:ext uri="{909E8E84-426E-40DD-AFC4-6F175D3DCCD1}">
                <a14:hiddenFill xmlns:a14="http://schemas.microsoft.com/office/drawing/2010/main">
                  <a:solidFill>
                    <a:srgbClr val="FFFFFF"/>
                  </a:solidFill>
                </a14:hiddenFill>
              </a:ext>
            </a:extLst>
          </p:spPr>
        </p:pic>
        <p:pic>
          <p:nvPicPr>
            <p:cNvPr id="671" name="Imagen 117">
              <a:extLst>
                <a:ext uri="{FF2B5EF4-FFF2-40B4-BE49-F238E27FC236}">
                  <a16:creationId xmlns:a16="http://schemas.microsoft.com/office/drawing/2014/main" id="{F238A4EA-BB05-5F90-D46F-2EAF4214DB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73501" y="2972352"/>
              <a:ext cx="164592" cy="164592"/>
            </a:xfrm>
            <a:prstGeom prst="rect">
              <a:avLst/>
            </a:prstGeom>
          </p:spPr>
        </p:pic>
      </p:grpSp>
      <p:grpSp>
        <p:nvGrpSpPr>
          <p:cNvPr id="672" name="Group 671">
            <a:extLst>
              <a:ext uri="{FF2B5EF4-FFF2-40B4-BE49-F238E27FC236}">
                <a16:creationId xmlns:a16="http://schemas.microsoft.com/office/drawing/2014/main" id="{C32EA409-90A5-5152-AA6C-46B49BA6CDCC}"/>
              </a:ext>
            </a:extLst>
          </p:cNvPr>
          <p:cNvGrpSpPr/>
          <p:nvPr/>
        </p:nvGrpSpPr>
        <p:grpSpPr>
          <a:xfrm>
            <a:off x="3245502" y="2949550"/>
            <a:ext cx="1276006" cy="1508426"/>
            <a:chOff x="419958" y="2936751"/>
            <a:chExt cx="1276006" cy="1508426"/>
          </a:xfrm>
        </p:grpSpPr>
        <p:sp>
          <p:nvSpPr>
            <p:cNvPr id="673" name="Rectangle 672">
              <a:extLst>
                <a:ext uri="{FF2B5EF4-FFF2-40B4-BE49-F238E27FC236}">
                  <a16:creationId xmlns:a16="http://schemas.microsoft.com/office/drawing/2014/main" id="{383ABC07-089A-8B5D-7AF1-7EEE3941AAE1}"/>
                </a:ext>
              </a:extLst>
            </p:cNvPr>
            <p:cNvSpPr>
              <a:spLocks noChangeAspect="1"/>
            </p:cNvSpPr>
            <p:nvPr/>
          </p:nvSpPr>
          <p:spPr>
            <a:xfrm>
              <a:off x="420816" y="2936751"/>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4" name="Deal type">
              <a:extLst>
                <a:ext uri="{FF2B5EF4-FFF2-40B4-BE49-F238E27FC236}">
                  <a16:creationId xmlns:a16="http://schemas.microsoft.com/office/drawing/2014/main" id="{C5D1EB3F-2A23-A304-FB7A-5FDDC5504263}"/>
                </a:ext>
              </a:extLst>
            </p:cNvPr>
            <p:cNvSpPr txBox="1">
              <a:spLocks/>
            </p:cNvSpPr>
            <p:nvPr/>
          </p:nvSpPr>
          <p:spPr>
            <a:xfrm>
              <a:off x="419958" y="4104013"/>
              <a:ext cx="1276006" cy="336142"/>
            </a:xfrm>
            <a:prstGeom prst="rect">
              <a:avLst/>
            </a:prstGeom>
            <a:ln>
              <a:noFill/>
            </a:ln>
          </p:spPr>
          <p:txBody>
            <a:bodyPr vert="horz" wrap="square" lIns="36576" tIns="0" rIns="36576" bIns="64008" rtlCol="0" anchor="b">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MedData</a:t>
              </a:r>
              <a:r>
                <a:rPr lang="en-US" sz="800"/>
                <a:t> Group on its sale to IQVIA</a:t>
              </a:r>
            </a:p>
          </p:txBody>
        </p:sp>
        <p:sp>
          <p:nvSpPr>
            <p:cNvPr id="675" name="Flag_1">
              <a:extLst>
                <a:ext uri="{FF2B5EF4-FFF2-40B4-BE49-F238E27FC236}">
                  <a16:creationId xmlns:a16="http://schemas.microsoft.com/office/drawing/2014/main" id="{830380B3-E5A6-8650-80E9-311691ED1143}"/>
                </a:ext>
              </a:extLst>
            </p:cNvPr>
            <p:cNvSpPr txBox="1">
              <a:spLocks noChangeAspect="1"/>
            </p:cNvSpPr>
            <p:nvPr/>
          </p:nvSpPr>
          <p:spPr>
            <a:xfrm>
              <a:off x="1468593" y="2978432"/>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76" name="Picture 98" descr="IQVIA Holdings">
              <a:extLst>
                <a:ext uri="{FF2B5EF4-FFF2-40B4-BE49-F238E27FC236}">
                  <a16:creationId xmlns:a16="http://schemas.microsoft.com/office/drawing/2014/main" id="{21A1CDDB-BFFA-E675-A0D5-E005460F2EC6}"/>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8248" t="35151" r="8248" b="35151"/>
            <a:stretch/>
          </p:blipFill>
          <p:spPr bwMode="auto">
            <a:xfrm>
              <a:off x="526426" y="3712493"/>
              <a:ext cx="1063071" cy="212667"/>
            </a:xfrm>
            <a:prstGeom prst="rect">
              <a:avLst/>
            </a:prstGeom>
            <a:noFill/>
            <a:extLst>
              <a:ext uri="{909E8E84-426E-40DD-AFC4-6F175D3DCCD1}">
                <a14:hiddenFill xmlns:a14="http://schemas.microsoft.com/office/drawing/2010/main">
                  <a:solidFill>
                    <a:srgbClr val="FFFFFF"/>
                  </a:solidFill>
                </a14:hiddenFill>
              </a:ext>
            </a:extLst>
          </p:spPr>
        </p:pic>
        <p:pic>
          <p:nvPicPr>
            <p:cNvPr id="677" name="Picture 104" descr="Partnerships - VDX.TV">
              <a:extLst>
                <a:ext uri="{FF2B5EF4-FFF2-40B4-BE49-F238E27FC236}">
                  <a16:creationId xmlns:a16="http://schemas.microsoft.com/office/drawing/2014/main" id="{A21F821A-E66F-D1AE-14D4-93336843C158}"/>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b="30465"/>
            <a:stretch/>
          </p:blipFill>
          <p:spPr bwMode="auto">
            <a:xfrm>
              <a:off x="623341" y="3263184"/>
              <a:ext cx="869241" cy="2221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8" name="Group 677">
            <a:extLst>
              <a:ext uri="{FF2B5EF4-FFF2-40B4-BE49-F238E27FC236}">
                <a16:creationId xmlns:a16="http://schemas.microsoft.com/office/drawing/2014/main" id="{ACDB9F6F-A60F-8EF6-E384-4617673276FE}"/>
              </a:ext>
            </a:extLst>
          </p:cNvPr>
          <p:cNvGrpSpPr/>
          <p:nvPr/>
        </p:nvGrpSpPr>
        <p:grpSpPr>
          <a:xfrm>
            <a:off x="6089443" y="2947330"/>
            <a:ext cx="1276006" cy="1508426"/>
            <a:chOff x="1855463" y="2936751"/>
            <a:chExt cx="1276006" cy="1508426"/>
          </a:xfrm>
        </p:grpSpPr>
        <p:sp>
          <p:nvSpPr>
            <p:cNvPr id="679" name="Rectangle 678">
              <a:extLst>
                <a:ext uri="{FF2B5EF4-FFF2-40B4-BE49-F238E27FC236}">
                  <a16:creationId xmlns:a16="http://schemas.microsoft.com/office/drawing/2014/main" id="{ADEA11E2-BDB9-1468-DB84-2C75AB672E6B}"/>
                </a:ext>
              </a:extLst>
            </p:cNvPr>
            <p:cNvSpPr>
              <a:spLocks noChangeAspect="1"/>
            </p:cNvSpPr>
            <p:nvPr/>
          </p:nvSpPr>
          <p:spPr>
            <a:xfrm>
              <a:off x="1856321" y="2936751"/>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0" name="Deal type">
              <a:extLst>
                <a:ext uri="{FF2B5EF4-FFF2-40B4-BE49-F238E27FC236}">
                  <a16:creationId xmlns:a16="http://schemas.microsoft.com/office/drawing/2014/main" id="{01431C0E-E911-769C-07C2-B5A8A9216184}"/>
                </a:ext>
              </a:extLst>
            </p:cNvPr>
            <p:cNvSpPr txBox="1">
              <a:spLocks/>
            </p:cNvSpPr>
            <p:nvPr/>
          </p:nvSpPr>
          <p:spPr>
            <a:xfrm>
              <a:off x="1855463" y="4104013"/>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700"/>
                <a:t>Advisor to Deloitte on the </a:t>
              </a:r>
              <a:br>
                <a:rPr lang="en-US" sz="700"/>
              </a:br>
              <a:r>
                <a:rPr lang="en-US" sz="700"/>
                <a:t>sale of its Life Sciences Pricing and Contracting Solutions to Model N</a:t>
              </a:r>
            </a:p>
          </p:txBody>
        </p:sp>
        <p:sp>
          <p:nvSpPr>
            <p:cNvPr id="681" name="Flag_1">
              <a:extLst>
                <a:ext uri="{FF2B5EF4-FFF2-40B4-BE49-F238E27FC236}">
                  <a16:creationId xmlns:a16="http://schemas.microsoft.com/office/drawing/2014/main" id="{2FB1E55A-31E9-A723-943A-74F9F971E2E3}"/>
                </a:ext>
              </a:extLst>
            </p:cNvPr>
            <p:cNvSpPr txBox="1">
              <a:spLocks noChangeAspect="1"/>
            </p:cNvSpPr>
            <p:nvPr/>
          </p:nvSpPr>
          <p:spPr>
            <a:xfrm>
              <a:off x="2904087" y="2975890"/>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82" name="Picture 106" descr="Revenue Management Software Solutions for High Tech &amp; Life Sciences | Model  N">
              <a:extLst>
                <a:ext uri="{FF2B5EF4-FFF2-40B4-BE49-F238E27FC236}">
                  <a16:creationId xmlns:a16="http://schemas.microsoft.com/office/drawing/2014/main" id="{10F407A6-BD9A-3B9E-6681-6AE3F2752A6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097169" y="3742613"/>
              <a:ext cx="792595" cy="190223"/>
            </a:xfrm>
            <a:prstGeom prst="rect">
              <a:avLst/>
            </a:prstGeom>
            <a:noFill/>
            <a:extLst>
              <a:ext uri="{909E8E84-426E-40DD-AFC4-6F175D3DCCD1}">
                <a14:hiddenFill xmlns:a14="http://schemas.microsoft.com/office/drawing/2010/main">
                  <a:solidFill>
                    <a:srgbClr val="FFFFFF"/>
                  </a:solidFill>
                </a14:hiddenFill>
              </a:ext>
            </a:extLst>
          </p:spPr>
        </p:pic>
        <p:grpSp>
          <p:nvGrpSpPr>
            <p:cNvPr id="683" name="Group 682">
              <a:extLst>
                <a:ext uri="{FF2B5EF4-FFF2-40B4-BE49-F238E27FC236}">
                  <a16:creationId xmlns:a16="http://schemas.microsoft.com/office/drawing/2014/main" id="{30A2CE49-0033-4514-8032-2C553ECDF3FA}"/>
                </a:ext>
              </a:extLst>
            </p:cNvPr>
            <p:cNvGrpSpPr>
              <a:grpSpLocks noChangeAspect="1"/>
            </p:cNvGrpSpPr>
            <p:nvPr/>
          </p:nvGrpSpPr>
          <p:grpSpPr>
            <a:xfrm>
              <a:off x="1936704" y="3144635"/>
              <a:ext cx="1113525" cy="381884"/>
              <a:chOff x="624176" y="13099664"/>
              <a:chExt cx="2169944" cy="744184"/>
            </a:xfrm>
          </p:grpSpPr>
          <p:pic>
            <p:nvPicPr>
              <p:cNvPr id="684" name="Picture 108" descr="Deloitte Financial Advisory Services | Partners">
                <a:extLst>
                  <a:ext uri="{FF2B5EF4-FFF2-40B4-BE49-F238E27FC236}">
                    <a16:creationId xmlns:a16="http://schemas.microsoft.com/office/drawing/2014/main" id="{165BE8D7-BB09-5C6F-8CBC-26CF142B8E73}"/>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10978" t="27951" r="10978" b="27951"/>
              <a:stretch/>
            </p:blipFill>
            <p:spPr bwMode="auto">
              <a:xfrm>
                <a:off x="970581" y="13099664"/>
                <a:ext cx="1477134" cy="365005"/>
              </a:xfrm>
              <a:prstGeom prst="rect">
                <a:avLst/>
              </a:prstGeom>
              <a:noFill/>
              <a:extLst>
                <a:ext uri="{909E8E84-426E-40DD-AFC4-6F175D3DCCD1}">
                  <a14:hiddenFill xmlns:a14="http://schemas.microsoft.com/office/drawing/2010/main">
                    <a:solidFill>
                      <a:srgbClr val="FFFFFF"/>
                    </a:solidFill>
                  </a14:hiddenFill>
                </a:ext>
              </a:extLst>
            </p:spPr>
          </p:pic>
          <p:sp>
            <p:nvSpPr>
              <p:cNvPr id="685" name="Deal type">
                <a:extLst>
                  <a:ext uri="{FF2B5EF4-FFF2-40B4-BE49-F238E27FC236}">
                    <a16:creationId xmlns:a16="http://schemas.microsoft.com/office/drawing/2014/main" id="{D7829624-59FD-073B-CE55-E7564F7E8380}"/>
                  </a:ext>
                </a:extLst>
              </p:cNvPr>
              <p:cNvSpPr txBox="1">
                <a:spLocks/>
              </p:cNvSpPr>
              <p:nvPr/>
            </p:nvSpPr>
            <p:spPr>
              <a:xfrm>
                <a:off x="624176" y="13626830"/>
                <a:ext cx="2169944" cy="217018"/>
              </a:xfrm>
              <a:prstGeom prst="rect">
                <a:avLst/>
              </a:prstGeom>
              <a:ln>
                <a:noFill/>
              </a:ln>
            </p:spPr>
            <p:txBody>
              <a:bodyPr vert="horz" wrap="square" lIns="0" tIns="0" rIns="0" bIns="0" rtlCol="0" anchor="ctr">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GB" sz="800" b="1">
                    <a:solidFill>
                      <a:srgbClr val="86BB40"/>
                    </a:solidFill>
                    <a:latin typeface="+mj-lt"/>
                  </a:rPr>
                  <a:t>Life Sciences Pricing and Contracting Solutions </a:t>
                </a:r>
                <a:endParaRPr lang="en-US" sz="800" b="1">
                  <a:solidFill>
                    <a:srgbClr val="86BB40"/>
                  </a:solidFill>
                  <a:latin typeface="+mj-lt"/>
                </a:endParaRPr>
              </a:p>
            </p:txBody>
          </p:sp>
        </p:grpSp>
      </p:grpSp>
      <p:grpSp>
        <p:nvGrpSpPr>
          <p:cNvPr id="686" name="Group 685">
            <a:extLst>
              <a:ext uri="{FF2B5EF4-FFF2-40B4-BE49-F238E27FC236}">
                <a16:creationId xmlns:a16="http://schemas.microsoft.com/office/drawing/2014/main" id="{3627BE20-5CE2-7B16-3EB6-FF5B48C14AD8}"/>
              </a:ext>
            </a:extLst>
          </p:cNvPr>
          <p:cNvGrpSpPr/>
          <p:nvPr/>
        </p:nvGrpSpPr>
        <p:grpSpPr>
          <a:xfrm>
            <a:off x="4666517" y="2949550"/>
            <a:ext cx="1279561" cy="1508426"/>
            <a:chOff x="3291874" y="2936751"/>
            <a:chExt cx="1279561" cy="1508426"/>
          </a:xfrm>
        </p:grpSpPr>
        <p:sp>
          <p:nvSpPr>
            <p:cNvPr id="687" name="Rectangle 686">
              <a:extLst>
                <a:ext uri="{FF2B5EF4-FFF2-40B4-BE49-F238E27FC236}">
                  <a16:creationId xmlns:a16="http://schemas.microsoft.com/office/drawing/2014/main" id="{9EA9FE2A-A8F5-8EA2-9B74-47778C0E144F}"/>
                </a:ext>
              </a:extLst>
            </p:cNvPr>
            <p:cNvSpPr>
              <a:spLocks noChangeAspect="1"/>
            </p:cNvSpPr>
            <p:nvPr/>
          </p:nvSpPr>
          <p:spPr>
            <a:xfrm>
              <a:off x="3291874" y="2936751"/>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8" name="Deal type">
              <a:extLst>
                <a:ext uri="{FF2B5EF4-FFF2-40B4-BE49-F238E27FC236}">
                  <a16:creationId xmlns:a16="http://schemas.microsoft.com/office/drawing/2014/main" id="{F90DA71D-8309-82A4-B666-B9F46C9D2D45}"/>
                </a:ext>
              </a:extLst>
            </p:cNvPr>
            <p:cNvSpPr txBox="1">
              <a:spLocks/>
            </p:cNvSpPr>
            <p:nvPr/>
          </p:nvSpPr>
          <p:spPr>
            <a:xfrm>
              <a:off x="3295428" y="4104013"/>
              <a:ext cx="1276007"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Medable</a:t>
              </a:r>
              <a:r>
                <a:rPr lang="en-US" sz="800"/>
                <a:t> on its recap by Sapphire Ventures</a:t>
              </a:r>
            </a:p>
          </p:txBody>
        </p:sp>
        <p:sp>
          <p:nvSpPr>
            <p:cNvPr id="689" name="Flag_1">
              <a:extLst>
                <a:ext uri="{FF2B5EF4-FFF2-40B4-BE49-F238E27FC236}">
                  <a16:creationId xmlns:a16="http://schemas.microsoft.com/office/drawing/2014/main" id="{23B99D2E-330C-C0DD-414D-E5CBC7C510CC}"/>
                </a:ext>
              </a:extLst>
            </p:cNvPr>
            <p:cNvSpPr txBox="1">
              <a:spLocks noChangeAspect="1"/>
            </p:cNvSpPr>
            <p:nvPr/>
          </p:nvSpPr>
          <p:spPr>
            <a:xfrm>
              <a:off x="4344052" y="2975890"/>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690" name="Picture 110" descr="New Medable AI Capabilities Simplifies Digital Clinical Trial Launch with  Instant eCOA Generation">
              <a:extLst>
                <a:ext uri="{FF2B5EF4-FFF2-40B4-BE49-F238E27FC236}">
                  <a16:creationId xmlns:a16="http://schemas.microsoft.com/office/drawing/2014/main" id="{F9291DEF-45C6-05C0-B17F-66D1F9F565CE}"/>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2000" t="7869" r="2000" b="7869"/>
            <a:stretch/>
          </p:blipFill>
          <p:spPr bwMode="auto">
            <a:xfrm>
              <a:off x="3442851" y="3242561"/>
              <a:ext cx="972336" cy="256036"/>
            </a:xfrm>
            <a:prstGeom prst="rect">
              <a:avLst/>
            </a:prstGeom>
            <a:noFill/>
            <a:extLst>
              <a:ext uri="{909E8E84-426E-40DD-AFC4-6F175D3DCCD1}">
                <a14:hiddenFill xmlns:a14="http://schemas.microsoft.com/office/drawing/2010/main">
                  <a:solidFill>
                    <a:srgbClr val="FFFFFF"/>
                  </a:solidFill>
                </a14:hiddenFill>
              </a:ext>
            </a:extLst>
          </p:spPr>
        </p:pic>
        <p:pic>
          <p:nvPicPr>
            <p:cNvPr id="691" name="Picture 112" descr="Why Sapphire Ventures: Interviews, Careers, &amp; Portfolio">
              <a:extLst>
                <a:ext uri="{FF2B5EF4-FFF2-40B4-BE49-F238E27FC236}">
                  <a16:creationId xmlns:a16="http://schemas.microsoft.com/office/drawing/2014/main" id="{038964A1-4930-72AD-5C28-79DA8964F6A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458947" y="3678945"/>
              <a:ext cx="940144" cy="2428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92" name="Group 691">
            <a:extLst>
              <a:ext uri="{FF2B5EF4-FFF2-40B4-BE49-F238E27FC236}">
                <a16:creationId xmlns:a16="http://schemas.microsoft.com/office/drawing/2014/main" id="{10490AFC-8060-1BA3-3BD1-D56DB8EAFF01}"/>
              </a:ext>
            </a:extLst>
          </p:cNvPr>
          <p:cNvGrpSpPr/>
          <p:nvPr/>
        </p:nvGrpSpPr>
        <p:grpSpPr>
          <a:xfrm>
            <a:off x="6088095" y="4593094"/>
            <a:ext cx="1278702" cy="1508426"/>
            <a:chOff x="4732185" y="2936751"/>
            <a:chExt cx="1278702" cy="1508426"/>
          </a:xfrm>
        </p:grpSpPr>
        <p:sp>
          <p:nvSpPr>
            <p:cNvPr id="693" name="Rectangle 692">
              <a:extLst>
                <a:ext uri="{FF2B5EF4-FFF2-40B4-BE49-F238E27FC236}">
                  <a16:creationId xmlns:a16="http://schemas.microsoft.com/office/drawing/2014/main" id="{4D70C9BD-E6F3-9926-4650-430DCABC992F}"/>
                </a:ext>
              </a:extLst>
            </p:cNvPr>
            <p:cNvSpPr>
              <a:spLocks noChangeAspect="1"/>
            </p:cNvSpPr>
            <p:nvPr/>
          </p:nvSpPr>
          <p:spPr>
            <a:xfrm>
              <a:off x="4736597" y="2936751"/>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4" name="Deal type">
              <a:extLst>
                <a:ext uri="{FF2B5EF4-FFF2-40B4-BE49-F238E27FC236}">
                  <a16:creationId xmlns:a16="http://schemas.microsoft.com/office/drawing/2014/main" id="{63250C21-2F91-BA92-E72B-802A49D512AB}"/>
                </a:ext>
              </a:extLst>
            </p:cNvPr>
            <p:cNvSpPr txBox="1">
              <a:spLocks/>
            </p:cNvSpPr>
            <p:nvPr/>
          </p:nvSpPr>
          <p:spPr>
            <a:xfrm>
              <a:off x="4732185" y="4104013"/>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Aktana</a:t>
              </a:r>
              <a:r>
                <a:rPr lang="en-US" sz="800"/>
                <a:t> on its </a:t>
              </a:r>
              <a:br>
                <a:rPr lang="en-US" sz="800"/>
              </a:br>
              <a:r>
                <a:rPr lang="en-US" sz="800"/>
                <a:t>recap by Novo Ventures and Transformation Capital</a:t>
              </a:r>
            </a:p>
          </p:txBody>
        </p:sp>
        <p:sp>
          <p:nvSpPr>
            <p:cNvPr id="695" name="Flag_1">
              <a:extLst>
                <a:ext uri="{FF2B5EF4-FFF2-40B4-BE49-F238E27FC236}">
                  <a16:creationId xmlns:a16="http://schemas.microsoft.com/office/drawing/2014/main" id="{63B42ED9-66D1-BE1E-63B1-E1A79C1102E8}"/>
                </a:ext>
              </a:extLst>
            </p:cNvPr>
            <p:cNvSpPr txBox="1">
              <a:spLocks noChangeAspect="1"/>
            </p:cNvSpPr>
            <p:nvPr/>
          </p:nvSpPr>
          <p:spPr>
            <a:xfrm>
              <a:off x="5780809" y="2975890"/>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nvGrpSpPr>
            <p:cNvPr id="696" name="Group 695">
              <a:extLst>
                <a:ext uri="{FF2B5EF4-FFF2-40B4-BE49-F238E27FC236}">
                  <a16:creationId xmlns:a16="http://schemas.microsoft.com/office/drawing/2014/main" id="{4B99729C-3A63-98C7-E224-CD475E28F108}"/>
                </a:ext>
              </a:extLst>
            </p:cNvPr>
            <p:cNvGrpSpPr/>
            <p:nvPr/>
          </p:nvGrpSpPr>
          <p:grpSpPr>
            <a:xfrm>
              <a:off x="4820383" y="3615503"/>
              <a:ext cx="1106718" cy="221295"/>
              <a:chOff x="7383143" y="110642"/>
              <a:chExt cx="1106718" cy="221295"/>
            </a:xfrm>
          </p:grpSpPr>
          <p:pic>
            <p:nvPicPr>
              <p:cNvPr id="699" name="Picture 698">
                <a:extLst>
                  <a:ext uri="{FF2B5EF4-FFF2-40B4-BE49-F238E27FC236}">
                    <a16:creationId xmlns:a16="http://schemas.microsoft.com/office/drawing/2014/main" id="{A0A7BCD4-89DE-C948-D637-0BEF39F6C330}"/>
                  </a:ext>
                </a:extLst>
              </p:cNvPr>
              <p:cNvPicPr>
                <a:picLocks noChangeAspect="1"/>
              </p:cNvPicPr>
              <p:nvPr/>
            </p:nvPicPr>
            <p:blipFill>
              <a:blip r:embed="rId21"/>
              <a:stretch>
                <a:fillRect/>
              </a:stretch>
            </p:blipFill>
            <p:spPr>
              <a:xfrm>
                <a:off x="7383143" y="129290"/>
                <a:ext cx="448805" cy="183998"/>
              </a:xfrm>
              <a:prstGeom prst="rect">
                <a:avLst/>
              </a:prstGeom>
            </p:spPr>
          </p:pic>
          <p:pic>
            <p:nvPicPr>
              <p:cNvPr id="700" name="Picture 699">
                <a:extLst>
                  <a:ext uri="{FF2B5EF4-FFF2-40B4-BE49-F238E27FC236}">
                    <a16:creationId xmlns:a16="http://schemas.microsoft.com/office/drawing/2014/main" id="{F36593F9-8C5D-56B3-A0B5-494EFB2FFB2B}"/>
                  </a:ext>
                </a:extLst>
              </p:cNvPr>
              <p:cNvPicPr>
                <a:picLocks noChangeAspect="1"/>
              </p:cNvPicPr>
              <p:nvPr/>
            </p:nvPicPr>
            <p:blipFill>
              <a:blip r:embed="rId22"/>
              <a:stretch>
                <a:fillRect/>
              </a:stretch>
            </p:blipFill>
            <p:spPr>
              <a:xfrm>
                <a:off x="7946807" y="110642"/>
                <a:ext cx="543054" cy="221295"/>
              </a:xfrm>
              <a:prstGeom prst="rect">
                <a:avLst/>
              </a:prstGeom>
            </p:spPr>
          </p:pic>
        </p:grpSp>
        <p:pic>
          <p:nvPicPr>
            <p:cNvPr id="697" name="Picture 696">
              <a:extLst>
                <a:ext uri="{FF2B5EF4-FFF2-40B4-BE49-F238E27FC236}">
                  <a16:creationId xmlns:a16="http://schemas.microsoft.com/office/drawing/2014/main" id="{61C18544-5D83-4A3A-7C89-9A8F9B197191}"/>
                </a:ext>
              </a:extLst>
            </p:cNvPr>
            <p:cNvPicPr>
              <a:picLocks noChangeAspect="1"/>
            </p:cNvPicPr>
            <p:nvPr/>
          </p:nvPicPr>
          <p:blipFill>
            <a:blip r:embed="rId23"/>
            <a:stretch>
              <a:fillRect/>
            </a:stretch>
          </p:blipFill>
          <p:spPr>
            <a:xfrm>
              <a:off x="4936445" y="3242222"/>
              <a:ext cx="874595" cy="142122"/>
            </a:xfrm>
            <a:prstGeom prst="rect">
              <a:avLst/>
            </a:prstGeom>
          </p:spPr>
        </p:pic>
        <p:pic>
          <p:nvPicPr>
            <p:cNvPr id="698" name="Imagen 47" descr="Imagen que contiene imágenes prediseñadas&#10;&#10;Descripción generada con confianza alta">
              <a:extLst>
                <a:ext uri="{FF2B5EF4-FFF2-40B4-BE49-F238E27FC236}">
                  <a16:creationId xmlns:a16="http://schemas.microsoft.com/office/drawing/2014/main" id="{E96ECC83-EFF5-1303-C7F6-1A2BB4CEF1BD}"/>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5574718" y="2972270"/>
              <a:ext cx="164592" cy="164592"/>
            </a:xfrm>
            <a:prstGeom prst="rect">
              <a:avLst/>
            </a:prstGeom>
          </p:spPr>
        </p:pic>
      </p:grpSp>
      <p:grpSp>
        <p:nvGrpSpPr>
          <p:cNvPr id="701" name="Group 700">
            <a:extLst>
              <a:ext uri="{FF2B5EF4-FFF2-40B4-BE49-F238E27FC236}">
                <a16:creationId xmlns:a16="http://schemas.microsoft.com/office/drawing/2014/main" id="{0535FFB2-5338-2A25-FC74-15F318D19923}"/>
              </a:ext>
            </a:extLst>
          </p:cNvPr>
          <p:cNvGrpSpPr/>
          <p:nvPr/>
        </p:nvGrpSpPr>
        <p:grpSpPr>
          <a:xfrm>
            <a:off x="4665326" y="4593266"/>
            <a:ext cx="1275715" cy="1508083"/>
            <a:chOff x="6170386" y="2936732"/>
            <a:chExt cx="1275715" cy="1508083"/>
          </a:xfrm>
        </p:grpSpPr>
        <p:sp>
          <p:nvSpPr>
            <p:cNvPr id="702" name="Rectangle 701">
              <a:extLst>
                <a:ext uri="{FF2B5EF4-FFF2-40B4-BE49-F238E27FC236}">
                  <a16:creationId xmlns:a16="http://schemas.microsoft.com/office/drawing/2014/main" id="{4A7C9A78-AC15-8EF8-1DB2-7846E56E9A0E}"/>
                </a:ext>
              </a:extLst>
            </p:cNvPr>
            <p:cNvSpPr>
              <a:spLocks noChangeAspect="1"/>
            </p:cNvSpPr>
            <p:nvPr/>
          </p:nvSpPr>
          <p:spPr>
            <a:xfrm>
              <a:off x="6171244" y="2936732"/>
              <a:ext cx="1273999" cy="1508083"/>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3" name="Deal type">
              <a:extLst>
                <a:ext uri="{FF2B5EF4-FFF2-40B4-BE49-F238E27FC236}">
                  <a16:creationId xmlns:a16="http://schemas.microsoft.com/office/drawing/2014/main" id="{B887642C-3738-0E74-C9F1-5A80C74E50A4}"/>
                </a:ext>
              </a:extLst>
            </p:cNvPr>
            <p:cNvSpPr txBox="1">
              <a:spLocks/>
            </p:cNvSpPr>
            <p:nvPr/>
          </p:nvSpPr>
          <p:spPr>
            <a:xfrm>
              <a:off x="6170386" y="4103729"/>
              <a:ext cx="1275715" cy="336066"/>
            </a:xfrm>
            <a:prstGeom prst="rect">
              <a:avLst/>
            </a:prstGeom>
            <a:ln>
              <a:noFill/>
            </a:ln>
          </p:spPr>
          <p:txBody>
            <a:bodyPr vert="horz" wrap="square" lIns="36576" tIns="0" rIns="36576" bIns="64008" rtlCol="0" anchor="b">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NextDocs</a:t>
              </a:r>
              <a:r>
                <a:rPr lang="en-US" sz="800"/>
                <a:t> on its </a:t>
              </a:r>
              <a:br>
                <a:rPr lang="en-US" sz="800"/>
              </a:br>
              <a:r>
                <a:rPr lang="en-US" sz="800"/>
                <a:t>sale to Aurea Software</a:t>
              </a:r>
            </a:p>
          </p:txBody>
        </p:sp>
        <p:sp>
          <p:nvSpPr>
            <p:cNvPr id="704" name="Flag_1">
              <a:extLst>
                <a:ext uri="{FF2B5EF4-FFF2-40B4-BE49-F238E27FC236}">
                  <a16:creationId xmlns:a16="http://schemas.microsoft.com/office/drawing/2014/main" id="{AB54091F-58C8-DCD2-49BF-4A4748F34F17}"/>
                </a:ext>
              </a:extLst>
            </p:cNvPr>
            <p:cNvSpPr txBox="1">
              <a:spLocks noChangeAspect="1"/>
            </p:cNvSpPr>
            <p:nvPr/>
          </p:nvSpPr>
          <p:spPr>
            <a:xfrm>
              <a:off x="7226973" y="2975718"/>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05" name="Picture 704">
              <a:extLst>
                <a:ext uri="{FF2B5EF4-FFF2-40B4-BE49-F238E27FC236}">
                  <a16:creationId xmlns:a16="http://schemas.microsoft.com/office/drawing/2014/main" id="{CDA2469A-863C-9118-3200-AE2F49F74741}"/>
                </a:ext>
              </a:extLst>
            </p:cNvPr>
            <p:cNvPicPr>
              <a:picLocks noChangeAspect="1"/>
            </p:cNvPicPr>
            <p:nvPr/>
          </p:nvPicPr>
          <p:blipFill>
            <a:blip r:embed="rId25"/>
            <a:stretch>
              <a:fillRect/>
            </a:stretch>
          </p:blipFill>
          <p:spPr>
            <a:xfrm>
              <a:off x="6536716" y="3679495"/>
              <a:ext cx="543054" cy="301697"/>
            </a:xfrm>
            <a:prstGeom prst="rect">
              <a:avLst/>
            </a:prstGeom>
          </p:spPr>
        </p:pic>
        <p:pic>
          <p:nvPicPr>
            <p:cNvPr id="706" name="Picture 705">
              <a:extLst>
                <a:ext uri="{FF2B5EF4-FFF2-40B4-BE49-F238E27FC236}">
                  <a16:creationId xmlns:a16="http://schemas.microsoft.com/office/drawing/2014/main" id="{F87CB954-965C-5E69-C999-9D664FC054E5}"/>
                </a:ext>
              </a:extLst>
            </p:cNvPr>
            <p:cNvPicPr>
              <a:picLocks noChangeAspect="1"/>
            </p:cNvPicPr>
            <p:nvPr/>
          </p:nvPicPr>
          <p:blipFill>
            <a:blip r:embed="rId26"/>
            <a:srcRect t="20846" b="23910"/>
            <a:stretch/>
          </p:blipFill>
          <p:spPr>
            <a:xfrm>
              <a:off x="6307475" y="3212306"/>
              <a:ext cx="1001536" cy="188119"/>
            </a:xfrm>
            <a:prstGeom prst="rect">
              <a:avLst/>
            </a:prstGeom>
          </p:spPr>
        </p:pic>
      </p:grpSp>
      <p:grpSp>
        <p:nvGrpSpPr>
          <p:cNvPr id="707" name="Group 706">
            <a:extLst>
              <a:ext uri="{FF2B5EF4-FFF2-40B4-BE49-F238E27FC236}">
                <a16:creationId xmlns:a16="http://schemas.microsoft.com/office/drawing/2014/main" id="{CF719C0A-497C-7DD1-BF8E-A1D6DFF8F6E4}"/>
              </a:ext>
            </a:extLst>
          </p:cNvPr>
          <p:cNvGrpSpPr/>
          <p:nvPr/>
        </p:nvGrpSpPr>
        <p:grpSpPr>
          <a:xfrm>
            <a:off x="3241349" y="4593094"/>
            <a:ext cx="1280160" cy="1508427"/>
            <a:chOff x="7618432" y="2936751"/>
            <a:chExt cx="1280160" cy="1508427"/>
          </a:xfrm>
        </p:grpSpPr>
        <p:sp>
          <p:nvSpPr>
            <p:cNvPr id="708" name="Rectangle 707">
              <a:extLst>
                <a:ext uri="{FF2B5EF4-FFF2-40B4-BE49-F238E27FC236}">
                  <a16:creationId xmlns:a16="http://schemas.microsoft.com/office/drawing/2014/main" id="{489A211A-9517-3BD1-A230-5DC7B5CC0E23}"/>
                </a:ext>
              </a:extLst>
            </p:cNvPr>
            <p:cNvSpPr>
              <a:spLocks noChangeAspect="1"/>
            </p:cNvSpPr>
            <p:nvPr/>
          </p:nvSpPr>
          <p:spPr>
            <a:xfrm>
              <a:off x="7619293" y="2936751"/>
              <a:ext cx="1278438" cy="1508427"/>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9" name="Deal type">
              <a:extLst>
                <a:ext uri="{FF2B5EF4-FFF2-40B4-BE49-F238E27FC236}">
                  <a16:creationId xmlns:a16="http://schemas.microsoft.com/office/drawing/2014/main" id="{D6371450-6EC4-DD94-A66F-B7E95AEE7D5D}"/>
                </a:ext>
              </a:extLst>
            </p:cNvPr>
            <p:cNvSpPr txBox="1">
              <a:spLocks/>
            </p:cNvSpPr>
            <p:nvPr/>
          </p:nvSpPr>
          <p:spPr>
            <a:xfrm>
              <a:off x="7618432" y="4103729"/>
              <a:ext cx="1280160" cy="336427"/>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Parallel 6 on </a:t>
              </a:r>
              <a:br>
                <a:rPr lang="en-US" sz="800"/>
              </a:br>
              <a:r>
                <a:rPr lang="en-US" sz="800"/>
                <a:t>its sale to Icon</a:t>
              </a:r>
            </a:p>
          </p:txBody>
        </p:sp>
        <p:sp>
          <p:nvSpPr>
            <p:cNvPr id="710" name="Flag_1">
              <a:extLst>
                <a:ext uri="{FF2B5EF4-FFF2-40B4-BE49-F238E27FC236}">
                  <a16:creationId xmlns:a16="http://schemas.microsoft.com/office/drawing/2014/main" id="{7A046E84-59A9-A0B7-2563-A3840314D0E6}"/>
                </a:ext>
              </a:extLst>
            </p:cNvPr>
            <p:cNvSpPr txBox="1">
              <a:spLocks noChangeAspect="1"/>
            </p:cNvSpPr>
            <p:nvPr/>
          </p:nvSpPr>
          <p:spPr>
            <a:xfrm>
              <a:off x="8670731" y="2975890"/>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11" name="Picture 126" descr="ICON Public Limited Company (ICLR) Stock Price, Quote, News &amp; Analysis |  Seeking Alpha">
              <a:extLst>
                <a:ext uri="{FF2B5EF4-FFF2-40B4-BE49-F238E27FC236}">
                  <a16:creationId xmlns:a16="http://schemas.microsoft.com/office/drawing/2014/main" id="{4CB89784-4734-80CE-E0BC-CA22F201C453}"/>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889328" y="3741421"/>
              <a:ext cx="738369" cy="200440"/>
            </a:xfrm>
            <a:prstGeom prst="rect">
              <a:avLst/>
            </a:prstGeom>
            <a:noFill/>
            <a:extLst>
              <a:ext uri="{909E8E84-426E-40DD-AFC4-6F175D3DCCD1}">
                <a14:hiddenFill xmlns:a14="http://schemas.microsoft.com/office/drawing/2010/main">
                  <a:solidFill>
                    <a:srgbClr val="FFFFFF"/>
                  </a:solidFill>
                </a14:hiddenFill>
              </a:ext>
            </a:extLst>
          </p:spPr>
        </p:pic>
        <p:pic>
          <p:nvPicPr>
            <p:cNvPr id="712" name="Picture 124" descr="Parallel 6 - Products, Competitors, Financials, Employees, Headquarters  Locations">
              <a:extLst>
                <a:ext uri="{FF2B5EF4-FFF2-40B4-BE49-F238E27FC236}">
                  <a16:creationId xmlns:a16="http://schemas.microsoft.com/office/drawing/2014/main" id="{E5FCF232-244E-6A9E-CED5-4463BFE707E3}"/>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3717" t="27760" r="3717" b="27760"/>
            <a:stretch/>
          </p:blipFill>
          <p:spPr bwMode="auto">
            <a:xfrm>
              <a:off x="7737708" y="3302028"/>
              <a:ext cx="1041609" cy="154005"/>
            </a:xfrm>
            <a:prstGeom prst="rect">
              <a:avLst/>
            </a:prstGeom>
            <a:noFill/>
            <a:extLst>
              <a:ext uri="{909E8E84-426E-40DD-AFC4-6F175D3DCCD1}">
                <a14:hiddenFill xmlns:a14="http://schemas.microsoft.com/office/drawing/2010/main">
                  <a:solidFill>
                    <a:srgbClr val="FFFFFF"/>
                  </a:solidFill>
                </a14:hiddenFill>
              </a:ext>
            </a:extLst>
          </p:spPr>
        </p:pic>
        <p:pic>
          <p:nvPicPr>
            <p:cNvPr id="713" name="Imagen 8">
              <a:extLst>
                <a:ext uri="{FF2B5EF4-FFF2-40B4-BE49-F238E27FC236}">
                  <a16:creationId xmlns:a16="http://schemas.microsoft.com/office/drawing/2014/main" id="{B05B8D81-1EFC-ACEE-5BBA-608E91549C96}"/>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8462711" y="2975890"/>
              <a:ext cx="164592" cy="164592"/>
            </a:xfrm>
            <a:prstGeom prst="rect">
              <a:avLst/>
            </a:prstGeom>
          </p:spPr>
        </p:pic>
      </p:grpSp>
      <p:grpSp>
        <p:nvGrpSpPr>
          <p:cNvPr id="714" name="Group 713">
            <a:extLst>
              <a:ext uri="{FF2B5EF4-FFF2-40B4-BE49-F238E27FC236}">
                <a16:creationId xmlns:a16="http://schemas.microsoft.com/office/drawing/2014/main" id="{C538D610-EC81-D6C8-B988-551E4792ECAF}"/>
              </a:ext>
            </a:extLst>
          </p:cNvPr>
          <p:cNvGrpSpPr/>
          <p:nvPr/>
        </p:nvGrpSpPr>
        <p:grpSpPr>
          <a:xfrm>
            <a:off x="406868" y="4593094"/>
            <a:ext cx="1276006" cy="1508426"/>
            <a:chOff x="419100" y="4732385"/>
            <a:chExt cx="1276006" cy="1508426"/>
          </a:xfrm>
        </p:grpSpPr>
        <p:sp>
          <p:nvSpPr>
            <p:cNvPr id="715" name="Rectangle 714">
              <a:extLst>
                <a:ext uri="{FF2B5EF4-FFF2-40B4-BE49-F238E27FC236}">
                  <a16:creationId xmlns:a16="http://schemas.microsoft.com/office/drawing/2014/main" id="{0C64B62D-91F5-17AC-FD88-1659D24217C7}"/>
                </a:ext>
              </a:extLst>
            </p:cNvPr>
            <p:cNvSpPr>
              <a:spLocks noChangeAspect="1"/>
            </p:cNvSpPr>
            <p:nvPr/>
          </p:nvSpPr>
          <p:spPr>
            <a:xfrm>
              <a:off x="419958" y="4732385"/>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6" name="Deal type">
              <a:extLst>
                <a:ext uri="{FF2B5EF4-FFF2-40B4-BE49-F238E27FC236}">
                  <a16:creationId xmlns:a16="http://schemas.microsoft.com/office/drawing/2014/main" id="{86FD9780-34A3-84BD-430C-D714F0C2E61D}"/>
                </a:ext>
              </a:extLst>
            </p:cNvPr>
            <p:cNvSpPr txBox="1">
              <a:spLocks/>
            </p:cNvSpPr>
            <p:nvPr/>
          </p:nvSpPr>
          <p:spPr>
            <a:xfrm>
              <a:off x="419100" y="5899647"/>
              <a:ext cx="1276006"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700"/>
                <a:t>Advisor to Chemical Computing Group on a majority investment from </a:t>
              </a:r>
              <a:r>
                <a:rPr lang="en-US" sz="700" err="1"/>
                <a:t>Altaris</a:t>
              </a:r>
              <a:r>
                <a:rPr lang="en-US" sz="700"/>
                <a:t> Capital Partners</a:t>
              </a:r>
            </a:p>
          </p:txBody>
        </p:sp>
        <p:sp>
          <p:nvSpPr>
            <p:cNvPr id="717" name="Flag_1">
              <a:extLst>
                <a:ext uri="{FF2B5EF4-FFF2-40B4-BE49-F238E27FC236}">
                  <a16:creationId xmlns:a16="http://schemas.microsoft.com/office/drawing/2014/main" id="{861A15E0-283A-B7C2-7363-7B39BA83E83F}"/>
                </a:ext>
              </a:extLst>
            </p:cNvPr>
            <p:cNvSpPr txBox="1">
              <a:spLocks noChangeAspect="1"/>
            </p:cNvSpPr>
            <p:nvPr/>
          </p:nvSpPr>
          <p:spPr>
            <a:xfrm>
              <a:off x="1467724" y="4771524"/>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18" name="Picture 2" descr="Altaris Capital Partners - Crunchbase Investor Profile &amp; Investments">
              <a:extLst>
                <a:ext uri="{FF2B5EF4-FFF2-40B4-BE49-F238E27FC236}">
                  <a16:creationId xmlns:a16="http://schemas.microsoft.com/office/drawing/2014/main" id="{92DE314C-8E8C-FFE3-35EC-F6B499D44E9E}"/>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t="36828" b="34521"/>
            <a:stretch/>
          </p:blipFill>
          <p:spPr bwMode="auto">
            <a:xfrm>
              <a:off x="604647" y="5465756"/>
              <a:ext cx="904912" cy="259265"/>
            </a:xfrm>
            <a:prstGeom prst="rect">
              <a:avLst/>
            </a:prstGeom>
            <a:noFill/>
            <a:extLst>
              <a:ext uri="{909E8E84-426E-40DD-AFC4-6F175D3DCCD1}">
                <a14:hiddenFill xmlns:a14="http://schemas.microsoft.com/office/drawing/2010/main">
                  <a:solidFill>
                    <a:srgbClr val="FFFFFF"/>
                  </a:solidFill>
                </a14:hiddenFill>
              </a:ext>
            </a:extLst>
          </p:spPr>
        </p:pic>
        <p:pic>
          <p:nvPicPr>
            <p:cNvPr id="719" name="Picture 4" descr="Chemical Computing Group (CCG) | Computer-Aided Molecular Design">
              <a:extLst>
                <a:ext uri="{FF2B5EF4-FFF2-40B4-BE49-F238E27FC236}">
                  <a16:creationId xmlns:a16="http://schemas.microsoft.com/office/drawing/2014/main" id="{456726F7-1984-3418-D385-7EE20289A0E0}"/>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88581" y="5015881"/>
              <a:ext cx="737045" cy="27736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20" name="Group 719">
            <a:extLst>
              <a:ext uri="{FF2B5EF4-FFF2-40B4-BE49-F238E27FC236}">
                <a16:creationId xmlns:a16="http://schemas.microsoft.com/office/drawing/2014/main" id="{5491D8AA-8A1B-ACED-FC21-AFC2C0D50E0E}"/>
              </a:ext>
            </a:extLst>
          </p:cNvPr>
          <p:cNvGrpSpPr/>
          <p:nvPr/>
        </p:nvGrpSpPr>
        <p:grpSpPr>
          <a:xfrm>
            <a:off x="406868" y="6245901"/>
            <a:ext cx="1276006" cy="1508426"/>
            <a:chOff x="419958" y="4732385"/>
            <a:chExt cx="1276006" cy="1508426"/>
          </a:xfrm>
        </p:grpSpPr>
        <p:sp>
          <p:nvSpPr>
            <p:cNvPr id="721" name="Rectangle 720">
              <a:extLst>
                <a:ext uri="{FF2B5EF4-FFF2-40B4-BE49-F238E27FC236}">
                  <a16:creationId xmlns:a16="http://schemas.microsoft.com/office/drawing/2014/main" id="{9B2F8379-1D32-C471-5CC6-45F60FC3CADC}"/>
                </a:ext>
              </a:extLst>
            </p:cNvPr>
            <p:cNvSpPr>
              <a:spLocks noChangeAspect="1"/>
            </p:cNvSpPr>
            <p:nvPr/>
          </p:nvSpPr>
          <p:spPr>
            <a:xfrm>
              <a:off x="420816" y="4732385"/>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2" name="Deal type">
              <a:extLst>
                <a:ext uri="{FF2B5EF4-FFF2-40B4-BE49-F238E27FC236}">
                  <a16:creationId xmlns:a16="http://schemas.microsoft.com/office/drawing/2014/main" id="{67DF2645-5541-5687-4621-D56D38733AE5}"/>
                </a:ext>
              </a:extLst>
            </p:cNvPr>
            <p:cNvSpPr txBox="1">
              <a:spLocks/>
            </p:cNvSpPr>
            <p:nvPr/>
          </p:nvSpPr>
          <p:spPr>
            <a:xfrm>
              <a:off x="419958" y="5899647"/>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GQ Life Sciences </a:t>
              </a:r>
              <a:br>
                <a:rPr lang="en-US" sz="800"/>
              </a:br>
              <a:r>
                <a:rPr lang="en-US" sz="800"/>
                <a:t>on its sale to </a:t>
              </a:r>
              <a:r>
                <a:rPr lang="en-US" sz="800" err="1"/>
                <a:t>Aptean</a:t>
              </a:r>
              <a:endParaRPr lang="en-US" sz="800"/>
            </a:p>
          </p:txBody>
        </p:sp>
        <p:sp>
          <p:nvSpPr>
            <p:cNvPr id="723" name="Flag_1">
              <a:extLst>
                <a:ext uri="{FF2B5EF4-FFF2-40B4-BE49-F238E27FC236}">
                  <a16:creationId xmlns:a16="http://schemas.microsoft.com/office/drawing/2014/main" id="{696345B6-0205-B499-626D-A467B924FFE9}"/>
                </a:ext>
              </a:extLst>
            </p:cNvPr>
            <p:cNvSpPr txBox="1">
              <a:spLocks noChangeAspect="1"/>
            </p:cNvSpPr>
            <p:nvPr/>
          </p:nvSpPr>
          <p:spPr>
            <a:xfrm>
              <a:off x="1465342" y="4770276"/>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24" name="Picture 723">
              <a:extLst>
                <a:ext uri="{FF2B5EF4-FFF2-40B4-BE49-F238E27FC236}">
                  <a16:creationId xmlns:a16="http://schemas.microsoft.com/office/drawing/2014/main" id="{D4E546C2-3830-D4BE-067C-3D551BE482C6}"/>
                </a:ext>
              </a:extLst>
            </p:cNvPr>
            <p:cNvPicPr>
              <a:picLocks noChangeAspect="1"/>
            </p:cNvPicPr>
            <p:nvPr/>
          </p:nvPicPr>
          <p:blipFill rotWithShape="1">
            <a:blip r:embed="rId32">
              <a:extLst>
                <a:ext uri="{28A0092B-C50C-407E-A947-70E740481C1C}">
                  <a14:useLocalDpi xmlns:a14="http://schemas.microsoft.com/office/drawing/2010/main" val="0"/>
                </a:ext>
              </a:extLst>
            </a:blip>
            <a:srcRect l="7505" t="67329" r="8425" b="9481"/>
            <a:stretch/>
          </p:blipFill>
          <p:spPr>
            <a:xfrm>
              <a:off x="545238" y="5456218"/>
              <a:ext cx="1025446" cy="274765"/>
            </a:xfrm>
            <a:prstGeom prst="rect">
              <a:avLst/>
            </a:prstGeom>
          </p:spPr>
        </p:pic>
        <p:pic>
          <p:nvPicPr>
            <p:cNvPr id="725" name="Picture 724">
              <a:extLst>
                <a:ext uri="{FF2B5EF4-FFF2-40B4-BE49-F238E27FC236}">
                  <a16:creationId xmlns:a16="http://schemas.microsoft.com/office/drawing/2014/main" id="{97DF37EC-2B63-261A-38E8-E2CD02F51669}"/>
                </a:ext>
              </a:extLst>
            </p:cNvPr>
            <p:cNvPicPr>
              <a:picLocks noChangeAspect="1"/>
            </p:cNvPicPr>
            <p:nvPr/>
          </p:nvPicPr>
          <p:blipFill rotWithShape="1">
            <a:blip r:embed="rId32">
              <a:extLst>
                <a:ext uri="{28A0092B-C50C-407E-A947-70E740481C1C}">
                  <a14:useLocalDpi xmlns:a14="http://schemas.microsoft.com/office/drawing/2010/main" val="0"/>
                </a:ext>
              </a:extLst>
            </a:blip>
            <a:srcRect l="8947" t="12869" r="7725" b="67641"/>
            <a:stretch/>
          </p:blipFill>
          <p:spPr>
            <a:xfrm>
              <a:off x="484210" y="5026155"/>
              <a:ext cx="1130351" cy="256815"/>
            </a:xfrm>
            <a:prstGeom prst="rect">
              <a:avLst/>
            </a:prstGeom>
          </p:spPr>
        </p:pic>
      </p:grpSp>
      <p:grpSp>
        <p:nvGrpSpPr>
          <p:cNvPr id="726" name="Group 725">
            <a:extLst>
              <a:ext uri="{FF2B5EF4-FFF2-40B4-BE49-F238E27FC236}">
                <a16:creationId xmlns:a16="http://schemas.microsoft.com/office/drawing/2014/main" id="{91E242D6-2039-1622-4C9C-36A9C7DFC18D}"/>
              </a:ext>
            </a:extLst>
          </p:cNvPr>
          <p:cNvGrpSpPr/>
          <p:nvPr/>
        </p:nvGrpSpPr>
        <p:grpSpPr>
          <a:xfrm>
            <a:off x="1824396" y="6245901"/>
            <a:ext cx="1276006" cy="1508426"/>
            <a:chOff x="1855463" y="4732385"/>
            <a:chExt cx="1276006" cy="1508426"/>
          </a:xfrm>
        </p:grpSpPr>
        <p:sp>
          <p:nvSpPr>
            <p:cNvPr id="727" name="Rectangle 726">
              <a:extLst>
                <a:ext uri="{FF2B5EF4-FFF2-40B4-BE49-F238E27FC236}">
                  <a16:creationId xmlns:a16="http://schemas.microsoft.com/office/drawing/2014/main" id="{F63DDB79-79F1-AB11-E848-3DA8D6E316B4}"/>
                </a:ext>
              </a:extLst>
            </p:cNvPr>
            <p:cNvSpPr>
              <a:spLocks noChangeAspect="1"/>
            </p:cNvSpPr>
            <p:nvPr/>
          </p:nvSpPr>
          <p:spPr>
            <a:xfrm>
              <a:off x="1856321" y="4732385"/>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8" name="Deal type">
              <a:extLst>
                <a:ext uri="{FF2B5EF4-FFF2-40B4-BE49-F238E27FC236}">
                  <a16:creationId xmlns:a16="http://schemas.microsoft.com/office/drawing/2014/main" id="{DC9D76B7-87C0-DE92-0C53-734B2BCF886E}"/>
                </a:ext>
              </a:extLst>
            </p:cNvPr>
            <p:cNvSpPr txBox="1">
              <a:spLocks/>
            </p:cNvSpPr>
            <p:nvPr/>
          </p:nvSpPr>
          <p:spPr>
            <a:xfrm>
              <a:off x="1855463" y="5899647"/>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mPulse</a:t>
              </a:r>
              <a:r>
                <a:rPr lang="en-US" sz="800"/>
                <a:t> Mobile on the acquisition of Message Beam</a:t>
              </a:r>
            </a:p>
          </p:txBody>
        </p:sp>
        <p:sp>
          <p:nvSpPr>
            <p:cNvPr id="729" name="Flag_1">
              <a:extLst>
                <a:ext uri="{FF2B5EF4-FFF2-40B4-BE49-F238E27FC236}">
                  <a16:creationId xmlns:a16="http://schemas.microsoft.com/office/drawing/2014/main" id="{2F37AFCC-0AC4-0275-6374-4443336501B3}"/>
                </a:ext>
              </a:extLst>
            </p:cNvPr>
            <p:cNvSpPr txBox="1">
              <a:spLocks noChangeAspect="1"/>
            </p:cNvSpPr>
            <p:nvPr/>
          </p:nvSpPr>
          <p:spPr>
            <a:xfrm>
              <a:off x="2907821" y="4771524"/>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30" name="Picture 729">
              <a:extLst>
                <a:ext uri="{FF2B5EF4-FFF2-40B4-BE49-F238E27FC236}">
                  <a16:creationId xmlns:a16="http://schemas.microsoft.com/office/drawing/2014/main" id="{0EA0F83E-CBCE-4C3E-4A74-1B9849DAF69A}"/>
                </a:ext>
              </a:extLst>
            </p:cNvPr>
            <p:cNvPicPr>
              <a:picLocks noChangeAspect="1"/>
            </p:cNvPicPr>
            <p:nvPr/>
          </p:nvPicPr>
          <p:blipFill rotWithShape="1">
            <a:blip r:embed="rId33">
              <a:extLst>
                <a:ext uri="{28A0092B-C50C-407E-A947-70E740481C1C}">
                  <a14:useLocalDpi xmlns:a14="http://schemas.microsoft.com/office/drawing/2010/main" val="0"/>
                </a:ext>
              </a:extLst>
            </a:blip>
            <a:srcRect l="12799" t="65961" r="13692" b="11710"/>
            <a:stretch/>
          </p:blipFill>
          <p:spPr>
            <a:xfrm>
              <a:off x="2048820" y="5463968"/>
              <a:ext cx="889293" cy="262840"/>
            </a:xfrm>
            <a:prstGeom prst="rect">
              <a:avLst/>
            </a:prstGeom>
          </p:spPr>
        </p:pic>
        <p:pic>
          <p:nvPicPr>
            <p:cNvPr id="731" name="Picture 730">
              <a:extLst>
                <a:ext uri="{FF2B5EF4-FFF2-40B4-BE49-F238E27FC236}">
                  <a16:creationId xmlns:a16="http://schemas.microsoft.com/office/drawing/2014/main" id="{855DA422-220D-D999-A8CD-3215B0FD630D}"/>
                </a:ext>
              </a:extLst>
            </p:cNvPr>
            <p:cNvPicPr>
              <a:picLocks noChangeAspect="1"/>
            </p:cNvPicPr>
            <p:nvPr/>
          </p:nvPicPr>
          <p:blipFill rotWithShape="1">
            <a:blip r:embed="rId34">
              <a:extLst>
                <a:ext uri="{28A0092B-C50C-407E-A947-70E740481C1C}">
                  <a14:useLocalDpi xmlns:a14="http://schemas.microsoft.com/office/drawing/2010/main" val="0"/>
                </a:ext>
              </a:extLst>
            </a:blip>
            <a:srcRect l="11871" t="20319" r="15455" b="17987"/>
            <a:stretch/>
          </p:blipFill>
          <p:spPr>
            <a:xfrm>
              <a:off x="2246646" y="4960368"/>
              <a:ext cx="493641" cy="419066"/>
            </a:xfrm>
            <a:prstGeom prst="rect">
              <a:avLst/>
            </a:prstGeom>
          </p:spPr>
        </p:pic>
      </p:grpSp>
      <p:grpSp>
        <p:nvGrpSpPr>
          <p:cNvPr id="732" name="Group 731">
            <a:extLst>
              <a:ext uri="{FF2B5EF4-FFF2-40B4-BE49-F238E27FC236}">
                <a16:creationId xmlns:a16="http://schemas.microsoft.com/office/drawing/2014/main" id="{20BC91E5-DA0A-2D78-C506-CB3F19908426}"/>
              </a:ext>
            </a:extLst>
          </p:cNvPr>
          <p:cNvGrpSpPr/>
          <p:nvPr/>
        </p:nvGrpSpPr>
        <p:grpSpPr>
          <a:xfrm>
            <a:off x="3243571" y="6245902"/>
            <a:ext cx="1276006" cy="1508426"/>
            <a:chOff x="3295625" y="4732385"/>
            <a:chExt cx="1276006" cy="1508426"/>
          </a:xfrm>
        </p:grpSpPr>
        <p:sp>
          <p:nvSpPr>
            <p:cNvPr id="733" name="Rectangle 732">
              <a:extLst>
                <a:ext uri="{FF2B5EF4-FFF2-40B4-BE49-F238E27FC236}">
                  <a16:creationId xmlns:a16="http://schemas.microsoft.com/office/drawing/2014/main" id="{4D030837-D7E0-F1BC-61FB-0B9C2FE0837B}"/>
                </a:ext>
              </a:extLst>
            </p:cNvPr>
            <p:cNvSpPr>
              <a:spLocks noChangeAspect="1"/>
            </p:cNvSpPr>
            <p:nvPr/>
          </p:nvSpPr>
          <p:spPr>
            <a:xfrm>
              <a:off x="3296483" y="4732385"/>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4" name="Deal type">
              <a:extLst>
                <a:ext uri="{FF2B5EF4-FFF2-40B4-BE49-F238E27FC236}">
                  <a16:creationId xmlns:a16="http://schemas.microsoft.com/office/drawing/2014/main" id="{1C122CB8-1E67-C210-9205-1B54E8D906F7}"/>
                </a:ext>
              </a:extLst>
            </p:cNvPr>
            <p:cNvSpPr txBox="1">
              <a:spLocks/>
            </p:cNvSpPr>
            <p:nvPr/>
          </p:nvSpPr>
          <p:spPr>
            <a:xfrm>
              <a:off x="3295625" y="5899647"/>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Chronometriq</a:t>
              </a:r>
              <a:r>
                <a:rPr lang="en-US" sz="800"/>
                <a:t> on its investment from Full In Partners</a:t>
              </a:r>
            </a:p>
          </p:txBody>
        </p:sp>
        <p:sp>
          <p:nvSpPr>
            <p:cNvPr id="735" name="Flag_1">
              <a:extLst>
                <a:ext uri="{FF2B5EF4-FFF2-40B4-BE49-F238E27FC236}">
                  <a16:creationId xmlns:a16="http://schemas.microsoft.com/office/drawing/2014/main" id="{EDCCA345-AB0E-AA61-693F-CB50E9DBAC05}"/>
                </a:ext>
              </a:extLst>
            </p:cNvPr>
            <p:cNvSpPr txBox="1">
              <a:spLocks noChangeAspect="1"/>
            </p:cNvSpPr>
            <p:nvPr/>
          </p:nvSpPr>
          <p:spPr>
            <a:xfrm>
              <a:off x="4344227" y="4770275"/>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36" name="Picture 735">
              <a:extLst>
                <a:ext uri="{FF2B5EF4-FFF2-40B4-BE49-F238E27FC236}">
                  <a16:creationId xmlns:a16="http://schemas.microsoft.com/office/drawing/2014/main" id="{9ADCC076-A95F-0F0D-E673-9D78E7A485AE}"/>
                </a:ext>
              </a:extLst>
            </p:cNvPr>
            <p:cNvPicPr>
              <a:picLocks noChangeAspect="1"/>
            </p:cNvPicPr>
            <p:nvPr/>
          </p:nvPicPr>
          <p:blipFill rotWithShape="1">
            <a:blip r:embed="rId35">
              <a:extLst>
                <a:ext uri="{28A0092B-C50C-407E-A947-70E740481C1C}">
                  <a14:useLocalDpi xmlns:a14="http://schemas.microsoft.com/office/drawing/2010/main" val="0"/>
                </a:ext>
              </a:extLst>
            </a:blip>
            <a:srcRect l="8184" t="9468" r="7948" b="64249"/>
            <a:stretch/>
          </p:blipFill>
          <p:spPr>
            <a:xfrm>
              <a:off x="3389584" y="4984768"/>
              <a:ext cx="1088089" cy="331248"/>
            </a:xfrm>
            <a:prstGeom prst="rect">
              <a:avLst/>
            </a:prstGeom>
          </p:spPr>
        </p:pic>
        <p:pic>
          <p:nvPicPr>
            <p:cNvPr id="737" name="Picture 736">
              <a:extLst>
                <a:ext uri="{FF2B5EF4-FFF2-40B4-BE49-F238E27FC236}">
                  <a16:creationId xmlns:a16="http://schemas.microsoft.com/office/drawing/2014/main" id="{65F7386E-8675-6680-4E20-6F8BE5198F33}"/>
                </a:ext>
              </a:extLst>
            </p:cNvPr>
            <p:cNvPicPr>
              <a:picLocks noChangeAspect="1"/>
            </p:cNvPicPr>
            <p:nvPr/>
          </p:nvPicPr>
          <p:blipFill rotWithShape="1">
            <a:blip r:embed="rId35">
              <a:extLst>
                <a:ext uri="{28A0092B-C50C-407E-A947-70E740481C1C}">
                  <a14:useLocalDpi xmlns:a14="http://schemas.microsoft.com/office/drawing/2010/main" val="0"/>
                </a:ext>
              </a:extLst>
            </a:blip>
            <a:srcRect l="31590" t="59533" r="31684" b="4408"/>
            <a:stretch/>
          </p:blipFill>
          <p:spPr>
            <a:xfrm>
              <a:off x="3715825" y="5391981"/>
              <a:ext cx="435607" cy="415469"/>
            </a:xfrm>
            <a:prstGeom prst="rect">
              <a:avLst/>
            </a:prstGeom>
          </p:spPr>
        </p:pic>
      </p:grpSp>
      <p:grpSp>
        <p:nvGrpSpPr>
          <p:cNvPr id="738" name="Group 737">
            <a:extLst>
              <a:ext uri="{FF2B5EF4-FFF2-40B4-BE49-F238E27FC236}">
                <a16:creationId xmlns:a16="http://schemas.microsoft.com/office/drawing/2014/main" id="{4725F264-6FF7-DFEE-31A7-3DB5BEB89C1E}"/>
              </a:ext>
            </a:extLst>
          </p:cNvPr>
          <p:cNvGrpSpPr/>
          <p:nvPr/>
        </p:nvGrpSpPr>
        <p:grpSpPr>
          <a:xfrm>
            <a:off x="4665252" y="6245902"/>
            <a:ext cx="1276006" cy="1508426"/>
            <a:chOff x="4732035" y="4732385"/>
            <a:chExt cx="1276006" cy="1508426"/>
          </a:xfrm>
        </p:grpSpPr>
        <p:sp>
          <p:nvSpPr>
            <p:cNvPr id="739" name="Rectangle 738">
              <a:extLst>
                <a:ext uri="{FF2B5EF4-FFF2-40B4-BE49-F238E27FC236}">
                  <a16:creationId xmlns:a16="http://schemas.microsoft.com/office/drawing/2014/main" id="{0C04A382-F363-0BA7-5BC0-D88ED66372C6}"/>
                </a:ext>
              </a:extLst>
            </p:cNvPr>
            <p:cNvSpPr>
              <a:spLocks noChangeAspect="1"/>
            </p:cNvSpPr>
            <p:nvPr/>
          </p:nvSpPr>
          <p:spPr>
            <a:xfrm>
              <a:off x="4732035" y="4732385"/>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0" name="Deal type">
              <a:extLst>
                <a:ext uri="{FF2B5EF4-FFF2-40B4-BE49-F238E27FC236}">
                  <a16:creationId xmlns:a16="http://schemas.microsoft.com/office/drawing/2014/main" id="{B53AC685-1C6F-130B-3580-2D0448224172}"/>
                </a:ext>
              </a:extLst>
            </p:cNvPr>
            <p:cNvSpPr txBox="1">
              <a:spLocks/>
            </p:cNvSpPr>
            <p:nvPr/>
          </p:nvSpPr>
          <p:spPr>
            <a:xfrm>
              <a:off x="4732035" y="5899647"/>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dirty="0"/>
                <a:t>Advisor to </a:t>
              </a:r>
              <a:r>
                <a:rPr lang="en-US" sz="800" dirty="0" err="1"/>
                <a:t>DocMorris</a:t>
              </a:r>
              <a:r>
                <a:rPr lang="en-US" sz="800" dirty="0"/>
                <a:t> on the placement of convertible bonds</a:t>
              </a:r>
            </a:p>
          </p:txBody>
        </p:sp>
        <p:pic>
          <p:nvPicPr>
            <p:cNvPr id="741" name="Picture 740">
              <a:extLst>
                <a:ext uri="{FF2B5EF4-FFF2-40B4-BE49-F238E27FC236}">
                  <a16:creationId xmlns:a16="http://schemas.microsoft.com/office/drawing/2014/main" id="{E3BC899C-5C1C-A765-8DCC-F06A6ADAD109}"/>
                </a:ext>
              </a:extLst>
            </p:cNvPr>
            <p:cNvPicPr>
              <a:picLocks noChangeAspect="1"/>
            </p:cNvPicPr>
            <p:nvPr/>
          </p:nvPicPr>
          <p:blipFill>
            <a:blip r:embed="rId36"/>
            <a:stretch>
              <a:fillRect/>
            </a:stretch>
          </p:blipFill>
          <p:spPr>
            <a:xfrm>
              <a:off x="4840050" y="5184687"/>
              <a:ext cx="1058260" cy="142865"/>
            </a:xfrm>
            <a:prstGeom prst="rect">
              <a:avLst/>
            </a:prstGeom>
          </p:spPr>
        </p:pic>
        <p:pic>
          <p:nvPicPr>
            <p:cNvPr id="742" name="Imagen 223" descr="Imagen que contiene objeto, kit de primeros auxilios, cosa&#10;&#10;Descripción generada con confianza muy alta">
              <a:extLst>
                <a:ext uri="{FF2B5EF4-FFF2-40B4-BE49-F238E27FC236}">
                  <a16:creationId xmlns:a16="http://schemas.microsoft.com/office/drawing/2014/main" id="{41BA898E-795B-E270-286B-FC73B0DD7B1C}"/>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5778848" y="4771248"/>
              <a:ext cx="164592" cy="164592"/>
            </a:xfrm>
            <a:prstGeom prst="rect">
              <a:avLst/>
            </a:prstGeom>
          </p:spPr>
        </p:pic>
      </p:grpSp>
      <p:grpSp>
        <p:nvGrpSpPr>
          <p:cNvPr id="743" name="Group 742">
            <a:extLst>
              <a:ext uri="{FF2B5EF4-FFF2-40B4-BE49-F238E27FC236}">
                <a16:creationId xmlns:a16="http://schemas.microsoft.com/office/drawing/2014/main" id="{B2DBB133-112D-FC58-6458-78E3591D3A69}"/>
              </a:ext>
            </a:extLst>
          </p:cNvPr>
          <p:cNvGrpSpPr/>
          <p:nvPr/>
        </p:nvGrpSpPr>
        <p:grpSpPr>
          <a:xfrm>
            <a:off x="6086449" y="6245902"/>
            <a:ext cx="1278702" cy="1508426"/>
            <a:chOff x="6181464" y="4732385"/>
            <a:chExt cx="1278702" cy="1508426"/>
          </a:xfrm>
        </p:grpSpPr>
        <p:sp>
          <p:nvSpPr>
            <p:cNvPr id="744" name="Rectangle 743">
              <a:extLst>
                <a:ext uri="{FF2B5EF4-FFF2-40B4-BE49-F238E27FC236}">
                  <a16:creationId xmlns:a16="http://schemas.microsoft.com/office/drawing/2014/main" id="{970776CD-0412-D0E7-86D3-0A597540709F}"/>
                </a:ext>
              </a:extLst>
            </p:cNvPr>
            <p:cNvSpPr>
              <a:spLocks noChangeAspect="1"/>
            </p:cNvSpPr>
            <p:nvPr/>
          </p:nvSpPr>
          <p:spPr>
            <a:xfrm>
              <a:off x="6185876" y="4732385"/>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5" name="Deal type">
              <a:extLst>
                <a:ext uri="{FF2B5EF4-FFF2-40B4-BE49-F238E27FC236}">
                  <a16:creationId xmlns:a16="http://schemas.microsoft.com/office/drawing/2014/main" id="{644FF15C-5D50-86AD-B455-09CD537BA5E8}"/>
                </a:ext>
              </a:extLst>
            </p:cNvPr>
            <p:cNvSpPr txBox="1">
              <a:spLocks/>
            </p:cNvSpPr>
            <p:nvPr/>
          </p:nvSpPr>
          <p:spPr>
            <a:xfrm>
              <a:off x="6181464" y="5899647"/>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Sonosite</a:t>
              </a:r>
              <a:r>
                <a:rPr lang="en-US" sz="800"/>
                <a:t> on its </a:t>
              </a:r>
              <a:br>
                <a:rPr lang="en-US" sz="800"/>
              </a:br>
              <a:r>
                <a:rPr lang="en-US" sz="800"/>
                <a:t>sale to </a:t>
              </a:r>
              <a:r>
                <a:rPr lang="en-US" sz="800" err="1"/>
                <a:t>FujiFilm</a:t>
              </a:r>
              <a:endParaRPr lang="en-US" sz="800"/>
            </a:p>
          </p:txBody>
        </p:sp>
        <p:sp>
          <p:nvSpPr>
            <p:cNvPr id="746" name="Flag_1">
              <a:extLst>
                <a:ext uri="{FF2B5EF4-FFF2-40B4-BE49-F238E27FC236}">
                  <a16:creationId xmlns:a16="http://schemas.microsoft.com/office/drawing/2014/main" id="{CBA58A27-40F2-6080-CA33-7EB6C83C059F}"/>
                </a:ext>
              </a:extLst>
            </p:cNvPr>
            <p:cNvSpPr txBox="1">
              <a:spLocks noChangeAspect="1"/>
            </p:cNvSpPr>
            <p:nvPr/>
          </p:nvSpPr>
          <p:spPr>
            <a:xfrm>
              <a:off x="7230088" y="4771524"/>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47" name="Imagen 24">
              <a:extLst>
                <a:ext uri="{FF2B5EF4-FFF2-40B4-BE49-F238E27FC236}">
                  <a16:creationId xmlns:a16="http://schemas.microsoft.com/office/drawing/2014/main" id="{43FD35C6-DB96-A9E4-0FFF-03554A6BD13C}"/>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023997" y="4767904"/>
              <a:ext cx="164592" cy="164592"/>
            </a:xfrm>
            <a:prstGeom prst="rect">
              <a:avLst/>
            </a:prstGeom>
          </p:spPr>
        </p:pic>
        <p:pic>
          <p:nvPicPr>
            <p:cNvPr id="748" name="Picture 747">
              <a:extLst>
                <a:ext uri="{FF2B5EF4-FFF2-40B4-BE49-F238E27FC236}">
                  <a16:creationId xmlns:a16="http://schemas.microsoft.com/office/drawing/2014/main" id="{D522B1C5-4B3A-8024-D5E9-29811495AC64}"/>
                </a:ext>
              </a:extLst>
            </p:cNvPr>
            <p:cNvPicPr>
              <a:picLocks noChangeAspect="1"/>
            </p:cNvPicPr>
            <p:nvPr/>
          </p:nvPicPr>
          <p:blipFill>
            <a:blip r:embed="rId39"/>
            <a:stretch>
              <a:fillRect/>
            </a:stretch>
          </p:blipFill>
          <p:spPr>
            <a:xfrm>
              <a:off x="6385724" y="5564028"/>
              <a:ext cx="874595" cy="146495"/>
            </a:xfrm>
            <a:prstGeom prst="rect">
              <a:avLst/>
            </a:prstGeom>
          </p:spPr>
        </p:pic>
        <p:pic>
          <p:nvPicPr>
            <p:cNvPr id="749" name="Picture 748">
              <a:extLst>
                <a:ext uri="{FF2B5EF4-FFF2-40B4-BE49-F238E27FC236}">
                  <a16:creationId xmlns:a16="http://schemas.microsoft.com/office/drawing/2014/main" id="{0EB547D2-7ED6-D435-E770-DA0A83803F21}"/>
                </a:ext>
              </a:extLst>
            </p:cNvPr>
            <p:cNvPicPr>
              <a:picLocks noChangeAspect="1"/>
            </p:cNvPicPr>
            <p:nvPr/>
          </p:nvPicPr>
          <p:blipFill>
            <a:blip r:embed="rId40"/>
            <a:srcRect l="435" t="1582" r="4253" b="2455"/>
            <a:stretch/>
          </p:blipFill>
          <p:spPr>
            <a:xfrm>
              <a:off x="6351110" y="5054455"/>
              <a:ext cx="943823" cy="206945"/>
            </a:xfrm>
            <a:prstGeom prst="rect">
              <a:avLst/>
            </a:prstGeom>
          </p:spPr>
        </p:pic>
      </p:grpSp>
      <p:grpSp>
        <p:nvGrpSpPr>
          <p:cNvPr id="750" name="Group 749">
            <a:extLst>
              <a:ext uri="{FF2B5EF4-FFF2-40B4-BE49-F238E27FC236}">
                <a16:creationId xmlns:a16="http://schemas.microsoft.com/office/drawing/2014/main" id="{80116904-6F21-D5DB-5D0C-8673C8285B52}"/>
              </a:ext>
            </a:extLst>
          </p:cNvPr>
          <p:cNvGrpSpPr/>
          <p:nvPr/>
        </p:nvGrpSpPr>
        <p:grpSpPr>
          <a:xfrm>
            <a:off x="1822750" y="7889444"/>
            <a:ext cx="1280160" cy="1508427"/>
            <a:chOff x="10493601" y="4732384"/>
            <a:chExt cx="1280160" cy="1508427"/>
          </a:xfrm>
        </p:grpSpPr>
        <p:sp>
          <p:nvSpPr>
            <p:cNvPr id="751" name="Rectangle 750">
              <a:extLst>
                <a:ext uri="{FF2B5EF4-FFF2-40B4-BE49-F238E27FC236}">
                  <a16:creationId xmlns:a16="http://schemas.microsoft.com/office/drawing/2014/main" id="{5FD358CC-2A4F-A51C-8FFF-F010D820D94E}"/>
                </a:ext>
              </a:extLst>
            </p:cNvPr>
            <p:cNvSpPr>
              <a:spLocks noChangeAspect="1"/>
            </p:cNvSpPr>
            <p:nvPr/>
          </p:nvSpPr>
          <p:spPr>
            <a:xfrm>
              <a:off x="10494462" y="4732384"/>
              <a:ext cx="1278438" cy="1508427"/>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2" name="Deal type">
              <a:extLst>
                <a:ext uri="{FF2B5EF4-FFF2-40B4-BE49-F238E27FC236}">
                  <a16:creationId xmlns:a16="http://schemas.microsoft.com/office/drawing/2014/main" id="{8778A1B5-0136-FFF3-7AF3-F0355936EBD1}"/>
                </a:ext>
              </a:extLst>
            </p:cNvPr>
            <p:cNvSpPr txBox="1">
              <a:spLocks/>
            </p:cNvSpPr>
            <p:nvPr/>
          </p:nvSpPr>
          <p:spPr>
            <a:xfrm>
              <a:off x="10493601" y="5899647"/>
              <a:ext cx="1280160"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t>
              </a:r>
              <a:r>
                <a:rPr lang="en-US" sz="800" err="1"/>
                <a:t>SigmaCare</a:t>
              </a:r>
              <a:r>
                <a:rPr lang="en-US" sz="800"/>
                <a:t> on its sale to Homecare CRM</a:t>
              </a:r>
            </a:p>
          </p:txBody>
        </p:sp>
        <p:sp>
          <p:nvSpPr>
            <p:cNvPr id="753" name="Flag_1">
              <a:extLst>
                <a:ext uri="{FF2B5EF4-FFF2-40B4-BE49-F238E27FC236}">
                  <a16:creationId xmlns:a16="http://schemas.microsoft.com/office/drawing/2014/main" id="{07F461F3-00DC-C3E2-F491-9E494F9B866C}"/>
                </a:ext>
              </a:extLst>
            </p:cNvPr>
            <p:cNvSpPr txBox="1">
              <a:spLocks noChangeAspect="1"/>
            </p:cNvSpPr>
            <p:nvPr/>
          </p:nvSpPr>
          <p:spPr>
            <a:xfrm>
              <a:off x="11547382" y="4770275"/>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54" name="Picture 753">
              <a:extLst>
                <a:ext uri="{FF2B5EF4-FFF2-40B4-BE49-F238E27FC236}">
                  <a16:creationId xmlns:a16="http://schemas.microsoft.com/office/drawing/2014/main" id="{61E297E5-AC5D-AA73-3CCF-5DCE74871F41}"/>
                </a:ext>
              </a:extLst>
            </p:cNvPr>
            <p:cNvPicPr>
              <a:picLocks noChangeAspect="1"/>
            </p:cNvPicPr>
            <p:nvPr/>
          </p:nvPicPr>
          <p:blipFill rotWithShape="1">
            <a:blip r:embed="rId41">
              <a:extLst>
                <a:ext uri="{28A0092B-C50C-407E-A947-70E740481C1C}">
                  <a14:useLocalDpi xmlns:a14="http://schemas.microsoft.com/office/drawing/2010/main" val="0"/>
                </a:ext>
              </a:extLst>
            </a:blip>
            <a:srcRect l="19425" t="70379" r="19385" b="14987"/>
            <a:stretch/>
          </p:blipFill>
          <p:spPr>
            <a:xfrm>
              <a:off x="10662194" y="5490177"/>
              <a:ext cx="942975" cy="219076"/>
            </a:xfrm>
            <a:prstGeom prst="rect">
              <a:avLst/>
            </a:prstGeom>
          </p:spPr>
        </p:pic>
        <p:pic>
          <p:nvPicPr>
            <p:cNvPr id="755" name="Picture 754">
              <a:extLst>
                <a:ext uri="{FF2B5EF4-FFF2-40B4-BE49-F238E27FC236}">
                  <a16:creationId xmlns:a16="http://schemas.microsoft.com/office/drawing/2014/main" id="{B7B88C18-9AEE-2A08-24CB-D7EAE6006BEE}"/>
                </a:ext>
              </a:extLst>
            </p:cNvPr>
            <p:cNvPicPr>
              <a:picLocks noChangeAspect="1"/>
            </p:cNvPicPr>
            <p:nvPr/>
          </p:nvPicPr>
          <p:blipFill rotWithShape="1">
            <a:blip r:embed="rId41">
              <a:extLst>
                <a:ext uri="{28A0092B-C50C-407E-A947-70E740481C1C}">
                  <a14:useLocalDpi xmlns:a14="http://schemas.microsoft.com/office/drawing/2010/main" val="0"/>
                </a:ext>
              </a:extLst>
            </a:blip>
            <a:srcRect l="17676" t="15017" r="19138" b="69458"/>
            <a:stretch/>
          </p:blipFill>
          <p:spPr>
            <a:xfrm>
              <a:off x="10612264" y="5016684"/>
              <a:ext cx="1042834" cy="248912"/>
            </a:xfrm>
            <a:prstGeom prst="rect">
              <a:avLst/>
            </a:prstGeom>
          </p:spPr>
        </p:pic>
      </p:grpSp>
      <p:grpSp>
        <p:nvGrpSpPr>
          <p:cNvPr id="756" name="Group 755">
            <a:extLst>
              <a:ext uri="{FF2B5EF4-FFF2-40B4-BE49-F238E27FC236}">
                <a16:creationId xmlns:a16="http://schemas.microsoft.com/office/drawing/2014/main" id="{664F3E9C-4B4F-9CF6-B68E-C4B78A9BE62A}"/>
              </a:ext>
            </a:extLst>
          </p:cNvPr>
          <p:cNvGrpSpPr/>
          <p:nvPr/>
        </p:nvGrpSpPr>
        <p:grpSpPr>
          <a:xfrm>
            <a:off x="4669623" y="1327685"/>
            <a:ext cx="1276006" cy="1508426"/>
            <a:chOff x="6171032" y="1141117"/>
            <a:chExt cx="1276006" cy="1508426"/>
          </a:xfrm>
        </p:grpSpPr>
        <p:sp>
          <p:nvSpPr>
            <p:cNvPr id="757" name="Rectangle 756">
              <a:extLst>
                <a:ext uri="{FF2B5EF4-FFF2-40B4-BE49-F238E27FC236}">
                  <a16:creationId xmlns:a16="http://schemas.microsoft.com/office/drawing/2014/main" id="{8E1B26C4-9DE6-9DB3-213C-C2F192CFBC31}"/>
                </a:ext>
              </a:extLst>
            </p:cNvPr>
            <p:cNvSpPr>
              <a:spLocks noChangeAspect="1"/>
            </p:cNvSpPr>
            <p:nvPr/>
          </p:nvSpPr>
          <p:spPr>
            <a:xfrm>
              <a:off x="6171890" y="1141117"/>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8" name="Deal type">
              <a:extLst>
                <a:ext uri="{FF2B5EF4-FFF2-40B4-BE49-F238E27FC236}">
                  <a16:creationId xmlns:a16="http://schemas.microsoft.com/office/drawing/2014/main" id="{43374237-D5BA-AB5C-670B-96E013A6179D}"/>
                </a:ext>
              </a:extLst>
            </p:cNvPr>
            <p:cNvSpPr txBox="1">
              <a:spLocks/>
            </p:cNvSpPr>
            <p:nvPr/>
          </p:nvSpPr>
          <p:spPr>
            <a:xfrm>
              <a:off x="6171032" y="2308379"/>
              <a:ext cx="1276006"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Med-Vantage on its sale to IQVIA</a:t>
              </a:r>
            </a:p>
          </p:txBody>
        </p:sp>
        <p:sp>
          <p:nvSpPr>
            <p:cNvPr id="759" name="Flag_1">
              <a:extLst>
                <a:ext uri="{FF2B5EF4-FFF2-40B4-BE49-F238E27FC236}">
                  <a16:creationId xmlns:a16="http://schemas.microsoft.com/office/drawing/2014/main" id="{8FB8A5FD-0609-2546-0E0D-20AD22EA8360}"/>
                </a:ext>
              </a:extLst>
            </p:cNvPr>
            <p:cNvSpPr txBox="1">
              <a:spLocks noChangeAspect="1"/>
            </p:cNvSpPr>
            <p:nvPr/>
          </p:nvSpPr>
          <p:spPr>
            <a:xfrm>
              <a:off x="7219656" y="1180255"/>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60" name="Picture 98" descr="IQVIA Holdings">
              <a:extLst>
                <a:ext uri="{FF2B5EF4-FFF2-40B4-BE49-F238E27FC236}">
                  <a16:creationId xmlns:a16="http://schemas.microsoft.com/office/drawing/2014/main" id="{4FA188E7-F16B-7B4B-AAA7-D5BD5F334FC1}"/>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8248" t="35151" r="8248" b="35151"/>
            <a:stretch/>
          </p:blipFill>
          <p:spPr bwMode="auto">
            <a:xfrm>
              <a:off x="6293132" y="1938478"/>
              <a:ext cx="1031806" cy="206414"/>
            </a:xfrm>
            <a:prstGeom prst="rect">
              <a:avLst/>
            </a:prstGeom>
            <a:noFill/>
            <a:extLst>
              <a:ext uri="{909E8E84-426E-40DD-AFC4-6F175D3DCCD1}">
                <a14:hiddenFill xmlns:a14="http://schemas.microsoft.com/office/drawing/2010/main">
                  <a:solidFill>
                    <a:srgbClr val="FFFFFF"/>
                  </a:solidFill>
                </a14:hiddenFill>
              </a:ext>
            </a:extLst>
          </p:spPr>
        </p:pic>
        <p:pic>
          <p:nvPicPr>
            <p:cNvPr id="761" name="Picture 760">
              <a:extLst>
                <a:ext uri="{FF2B5EF4-FFF2-40B4-BE49-F238E27FC236}">
                  <a16:creationId xmlns:a16="http://schemas.microsoft.com/office/drawing/2014/main" id="{8793C163-D2EA-0211-4A4B-3259BD19068E}"/>
                </a:ext>
              </a:extLst>
            </p:cNvPr>
            <p:cNvPicPr>
              <a:picLocks noChangeAspect="1"/>
            </p:cNvPicPr>
            <p:nvPr/>
          </p:nvPicPr>
          <p:blipFill>
            <a:blip r:embed="rId42"/>
            <a:stretch>
              <a:fillRect/>
            </a:stretch>
          </p:blipFill>
          <p:spPr>
            <a:xfrm>
              <a:off x="6283049" y="1515296"/>
              <a:ext cx="1051972" cy="157438"/>
            </a:xfrm>
            <a:prstGeom prst="rect">
              <a:avLst/>
            </a:prstGeom>
          </p:spPr>
        </p:pic>
      </p:grpSp>
      <p:grpSp>
        <p:nvGrpSpPr>
          <p:cNvPr id="762" name="Group 761">
            <a:extLst>
              <a:ext uri="{FF2B5EF4-FFF2-40B4-BE49-F238E27FC236}">
                <a16:creationId xmlns:a16="http://schemas.microsoft.com/office/drawing/2014/main" id="{087F90A3-258C-CB07-D590-53CF98787ADA}"/>
              </a:ext>
            </a:extLst>
          </p:cNvPr>
          <p:cNvGrpSpPr/>
          <p:nvPr/>
        </p:nvGrpSpPr>
        <p:grpSpPr>
          <a:xfrm>
            <a:off x="408515" y="1327685"/>
            <a:ext cx="1276006" cy="1508426"/>
            <a:chOff x="1855463" y="1141117"/>
            <a:chExt cx="1276006" cy="1508426"/>
          </a:xfrm>
        </p:grpSpPr>
        <p:sp>
          <p:nvSpPr>
            <p:cNvPr id="763" name="Rectangle 762">
              <a:extLst>
                <a:ext uri="{FF2B5EF4-FFF2-40B4-BE49-F238E27FC236}">
                  <a16:creationId xmlns:a16="http://schemas.microsoft.com/office/drawing/2014/main" id="{5432466B-4CDE-B9E0-074D-C12EC07E9D29}"/>
                </a:ext>
              </a:extLst>
            </p:cNvPr>
            <p:cNvSpPr>
              <a:spLocks noChangeAspect="1"/>
            </p:cNvSpPr>
            <p:nvPr/>
          </p:nvSpPr>
          <p:spPr>
            <a:xfrm>
              <a:off x="1856321" y="1141117"/>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4" name="Deal type">
              <a:extLst>
                <a:ext uri="{FF2B5EF4-FFF2-40B4-BE49-F238E27FC236}">
                  <a16:creationId xmlns:a16="http://schemas.microsoft.com/office/drawing/2014/main" id="{B68BDE6D-49A9-4FC9-5E3E-615311683663}"/>
                </a:ext>
              </a:extLst>
            </p:cNvPr>
            <p:cNvSpPr txBox="1">
              <a:spLocks/>
            </p:cNvSpPr>
            <p:nvPr/>
          </p:nvSpPr>
          <p:spPr>
            <a:xfrm>
              <a:off x="1855463" y="2308379"/>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Method Factory on its sale to Alere</a:t>
              </a:r>
            </a:p>
          </p:txBody>
        </p:sp>
        <p:sp>
          <p:nvSpPr>
            <p:cNvPr id="765" name="Flag_1">
              <a:extLst>
                <a:ext uri="{FF2B5EF4-FFF2-40B4-BE49-F238E27FC236}">
                  <a16:creationId xmlns:a16="http://schemas.microsoft.com/office/drawing/2014/main" id="{1777F2DF-E783-4FFC-EFF5-ABAE0D3F67F2}"/>
                </a:ext>
              </a:extLst>
            </p:cNvPr>
            <p:cNvSpPr txBox="1">
              <a:spLocks noChangeAspect="1"/>
            </p:cNvSpPr>
            <p:nvPr/>
          </p:nvSpPr>
          <p:spPr>
            <a:xfrm>
              <a:off x="2904666" y="1179568"/>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66" name="Picture 765">
              <a:extLst>
                <a:ext uri="{FF2B5EF4-FFF2-40B4-BE49-F238E27FC236}">
                  <a16:creationId xmlns:a16="http://schemas.microsoft.com/office/drawing/2014/main" id="{E59BA09C-9CA8-D485-CC02-1FDA98FA283A}"/>
                </a:ext>
              </a:extLst>
            </p:cNvPr>
            <p:cNvPicPr>
              <a:picLocks noChangeAspect="1"/>
            </p:cNvPicPr>
            <p:nvPr/>
          </p:nvPicPr>
          <p:blipFill>
            <a:blip r:embed="rId43"/>
            <a:stretch>
              <a:fillRect/>
            </a:stretch>
          </p:blipFill>
          <p:spPr>
            <a:xfrm>
              <a:off x="2286175" y="1371342"/>
              <a:ext cx="414583" cy="414583"/>
            </a:xfrm>
            <a:prstGeom prst="rect">
              <a:avLst/>
            </a:prstGeom>
          </p:spPr>
        </p:pic>
        <p:pic>
          <p:nvPicPr>
            <p:cNvPr id="767" name="Picture 766">
              <a:extLst>
                <a:ext uri="{FF2B5EF4-FFF2-40B4-BE49-F238E27FC236}">
                  <a16:creationId xmlns:a16="http://schemas.microsoft.com/office/drawing/2014/main" id="{6495640B-AD3E-FA28-E794-D308670EE2F2}"/>
                </a:ext>
              </a:extLst>
            </p:cNvPr>
            <p:cNvPicPr>
              <a:picLocks noChangeAspect="1"/>
            </p:cNvPicPr>
            <p:nvPr/>
          </p:nvPicPr>
          <p:blipFill>
            <a:blip r:embed="rId44"/>
            <a:stretch>
              <a:fillRect/>
            </a:stretch>
          </p:blipFill>
          <p:spPr>
            <a:xfrm>
              <a:off x="2012439" y="1970280"/>
              <a:ext cx="962055" cy="240514"/>
            </a:xfrm>
            <a:prstGeom prst="rect">
              <a:avLst/>
            </a:prstGeom>
          </p:spPr>
        </p:pic>
      </p:grpSp>
      <p:grpSp>
        <p:nvGrpSpPr>
          <p:cNvPr id="768" name="Group 767">
            <a:extLst>
              <a:ext uri="{FF2B5EF4-FFF2-40B4-BE49-F238E27FC236}">
                <a16:creationId xmlns:a16="http://schemas.microsoft.com/office/drawing/2014/main" id="{C976897F-E41A-31F5-F4EF-BD1A5294CA1E}"/>
              </a:ext>
            </a:extLst>
          </p:cNvPr>
          <p:cNvGrpSpPr/>
          <p:nvPr/>
        </p:nvGrpSpPr>
        <p:grpSpPr>
          <a:xfrm>
            <a:off x="1822391" y="4592922"/>
            <a:ext cx="1280160" cy="1508427"/>
            <a:chOff x="9058093" y="2936751"/>
            <a:chExt cx="1280160" cy="1508427"/>
          </a:xfrm>
        </p:grpSpPr>
        <p:sp>
          <p:nvSpPr>
            <p:cNvPr id="769" name="Rectangle 768">
              <a:extLst>
                <a:ext uri="{FF2B5EF4-FFF2-40B4-BE49-F238E27FC236}">
                  <a16:creationId xmlns:a16="http://schemas.microsoft.com/office/drawing/2014/main" id="{7CD2C934-6F1E-AA22-39D9-ABF59DFCDA97}"/>
                </a:ext>
              </a:extLst>
            </p:cNvPr>
            <p:cNvSpPr>
              <a:spLocks noChangeAspect="1"/>
            </p:cNvSpPr>
            <p:nvPr/>
          </p:nvSpPr>
          <p:spPr>
            <a:xfrm>
              <a:off x="9058954" y="2936751"/>
              <a:ext cx="1278438" cy="1508427"/>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0" name="Deal type">
              <a:extLst>
                <a:ext uri="{FF2B5EF4-FFF2-40B4-BE49-F238E27FC236}">
                  <a16:creationId xmlns:a16="http://schemas.microsoft.com/office/drawing/2014/main" id="{CD598898-2F4C-B7F8-ED3E-9474629E474B}"/>
                </a:ext>
              </a:extLst>
            </p:cNvPr>
            <p:cNvSpPr txBox="1">
              <a:spLocks/>
            </p:cNvSpPr>
            <p:nvPr/>
          </p:nvSpPr>
          <p:spPr>
            <a:xfrm>
              <a:off x="9058093" y="4104014"/>
              <a:ext cx="1280160"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dirty="0"/>
                <a:t>Advisor to </a:t>
              </a:r>
              <a:r>
                <a:rPr lang="en-US" sz="800" dirty="0" err="1"/>
                <a:t>Accenx</a:t>
              </a:r>
              <a:r>
                <a:rPr lang="en-US" sz="800" dirty="0"/>
                <a:t> on its </a:t>
              </a:r>
              <a:br>
                <a:rPr lang="en-US" sz="800" dirty="0"/>
              </a:br>
              <a:r>
                <a:rPr lang="en-US" sz="800" dirty="0"/>
                <a:t>sale to IBM</a:t>
              </a:r>
            </a:p>
          </p:txBody>
        </p:sp>
        <p:sp>
          <p:nvSpPr>
            <p:cNvPr id="771" name="Flag_1">
              <a:extLst>
                <a:ext uri="{FF2B5EF4-FFF2-40B4-BE49-F238E27FC236}">
                  <a16:creationId xmlns:a16="http://schemas.microsoft.com/office/drawing/2014/main" id="{A8F986A8-70BB-7882-FFE7-D6289E9E837E}"/>
                </a:ext>
              </a:extLst>
            </p:cNvPr>
            <p:cNvSpPr txBox="1">
              <a:spLocks noChangeAspect="1"/>
            </p:cNvSpPr>
            <p:nvPr/>
          </p:nvSpPr>
          <p:spPr>
            <a:xfrm>
              <a:off x="10111874" y="2974642"/>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72" name="Picture 771" descr="A close-up of several logos&#10;&#10;AI-generated content may be incorrect.">
              <a:extLst>
                <a:ext uri="{FF2B5EF4-FFF2-40B4-BE49-F238E27FC236}">
                  <a16:creationId xmlns:a16="http://schemas.microsoft.com/office/drawing/2014/main" id="{3AF494EE-5E01-15FF-42E5-4F5D912C6A0B}"/>
                </a:ext>
              </a:extLst>
            </p:cNvPr>
            <p:cNvPicPr>
              <a:picLocks noChangeAspect="1"/>
            </p:cNvPicPr>
            <p:nvPr/>
          </p:nvPicPr>
          <p:blipFill>
            <a:blip r:embed="rId45"/>
            <a:srcRect l="13397" t="11755" r="14115" b="73087"/>
            <a:stretch>
              <a:fillRect/>
            </a:stretch>
          </p:blipFill>
          <p:spPr>
            <a:xfrm>
              <a:off x="9252533" y="3260772"/>
              <a:ext cx="891281" cy="217941"/>
            </a:xfrm>
            <a:prstGeom prst="rect">
              <a:avLst/>
            </a:prstGeom>
          </p:spPr>
        </p:pic>
        <p:pic>
          <p:nvPicPr>
            <p:cNvPr id="773" name="Picture 772">
              <a:extLst>
                <a:ext uri="{FF2B5EF4-FFF2-40B4-BE49-F238E27FC236}">
                  <a16:creationId xmlns:a16="http://schemas.microsoft.com/office/drawing/2014/main" id="{29AB7454-C761-4552-5D51-5DD17536646A}"/>
                </a:ext>
              </a:extLst>
            </p:cNvPr>
            <p:cNvPicPr>
              <a:picLocks noChangeAspect="1"/>
            </p:cNvPicPr>
            <p:nvPr/>
          </p:nvPicPr>
          <p:blipFill>
            <a:blip r:embed="rId46"/>
            <a:stretch>
              <a:fillRect/>
            </a:stretch>
          </p:blipFill>
          <p:spPr>
            <a:xfrm>
              <a:off x="9405379" y="3718216"/>
              <a:ext cx="585589" cy="234237"/>
            </a:xfrm>
            <a:prstGeom prst="rect">
              <a:avLst/>
            </a:prstGeom>
          </p:spPr>
        </p:pic>
      </p:grpSp>
      <p:grpSp>
        <p:nvGrpSpPr>
          <p:cNvPr id="774" name="Group 773">
            <a:extLst>
              <a:ext uri="{FF2B5EF4-FFF2-40B4-BE49-F238E27FC236}">
                <a16:creationId xmlns:a16="http://schemas.microsoft.com/office/drawing/2014/main" id="{C284842F-720F-983C-90B0-E404EFF6D5BE}"/>
              </a:ext>
            </a:extLst>
          </p:cNvPr>
          <p:cNvGrpSpPr/>
          <p:nvPr/>
        </p:nvGrpSpPr>
        <p:grpSpPr>
          <a:xfrm>
            <a:off x="405520" y="7889445"/>
            <a:ext cx="1278702" cy="1508426"/>
            <a:chOff x="7619029" y="4732385"/>
            <a:chExt cx="1278702" cy="1508426"/>
          </a:xfrm>
        </p:grpSpPr>
        <p:sp>
          <p:nvSpPr>
            <p:cNvPr id="775" name="Rectangle 774">
              <a:extLst>
                <a:ext uri="{FF2B5EF4-FFF2-40B4-BE49-F238E27FC236}">
                  <a16:creationId xmlns:a16="http://schemas.microsoft.com/office/drawing/2014/main" id="{A9D530B6-AC53-719C-4575-878F46F2D56E}"/>
                </a:ext>
              </a:extLst>
            </p:cNvPr>
            <p:cNvSpPr>
              <a:spLocks noChangeAspect="1"/>
            </p:cNvSpPr>
            <p:nvPr/>
          </p:nvSpPr>
          <p:spPr>
            <a:xfrm>
              <a:off x="7623441" y="4732385"/>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6" name="Deal type">
              <a:extLst>
                <a:ext uri="{FF2B5EF4-FFF2-40B4-BE49-F238E27FC236}">
                  <a16:creationId xmlns:a16="http://schemas.microsoft.com/office/drawing/2014/main" id="{6C14254F-0BE5-E36D-24F0-20F9CFF6B737}"/>
                </a:ext>
              </a:extLst>
            </p:cNvPr>
            <p:cNvSpPr txBox="1">
              <a:spLocks/>
            </p:cNvSpPr>
            <p:nvPr/>
          </p:nvSpPr>
          <p:spPr>
            <a:xfrm>
              <a:off x="7619029" y="5899647"/>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dirty="0"/>
                <a:t>Advisor to </a:t>
              </a:r>
              <a:r>
                <a:rPr lang="en-US" sz="800" dirty="0" err="1"/>
                <a:t>QualityHealth</a:t>
              </a:r>
              <a:r>
                <a:rPr lang="en-US" sz="800" dirty="0"/>
                <a:t> on </a:t>
              </a:r>
              <a:br>
                <a:rPr lang="en-US" sz="800" dirty="0"/>
              </a:br>
              <a:r>
                <a:rPr lang="en-US" sz="800" dirty="0"/>
                <a:t>its minority preferred </a:t>
              </a:r>
              <a:br>
                <a:rPr lang="en-US" sz="800" dirty="0"/>
              </a:br>
              <a:r>
                <a:rPr lang="en-US" sz="800" dirty="0"/>
                <a:t>investment from WebMD</a:t>
              </a:r>
            </a:p>
          </p:txBody>
        </p:sp>
        <p:pic>
          <p:nvPicPr>
            <p:cNvPr id="777" name="Picture 776">
              <a:extLst>
                <a:ext uri="{FF2B5EF4-FFF2-40B4-BE49-F238E27FC236}">
                  <a16:creationId xmlns:a16="http://schemas.microsoft.com/office/drawing/2014/main" id="{C8100034-40F3-FAD6-7E0C-18729A3BE299}"/>
                </a:ext>
              </a:extLst>
            </p:cNvPr>
            <p:cNvPicPr>
              <a:picLocks noChangeAspect="1"/>
            </p:cNvPicPr>
            <p:nvPr/>
          </p:nvPicPr>
          <p:blipFill>
            <a:blip r:embed="rId47"/>
            <a:srcRect t="13301" r="2107" b="5299"/>
            <a:stretch>
              <a:fillRect/>
            </a:stretch>
          </p:blipFill>
          <p:spPr>
            <a:xfrm>
              <a:off x="7759690" y="5085112"/>
              <a:ext cx="1001793" cy="145631"/>
            </a:xfrm>
            <a:prstGeom prst="rect">
              <a:avLst/>
            </a:prstGeom>
          </p:spPr>
        </p:pic>
        <p:pic>
          <p:nvPicPr>
            <p:cNvPr id="778" name="Picture 777">
              <a:extLst>
                <a:ext uri="{FF2B5EF4-FFF2-40B4-BE49-F238E27FC236}">
                  <a16:creationId xmlns:a16="http://schemas.microsoft.com/office/drawing/2014/main" id="{BC9A8121-0EAD-AD2F-8D7D-71678D470B19}"/>
                </a:ext>
              </a:extLst>
            </p:cNvPr>
            <p:cNvPicPr>
              <a:picLocks noChangeAspect="1"/>
            </p:cNvPicPr>
            <p:nvPr/>
          </p:nvPicPr>
          <p:blipFill>
            <a:blip r:embed="rId48"/>
            <a:stretch>
              <a:fillRect/>
            </a:stretch>
          </p:blipFill>
          <p:spPr>
            <a:xfrm>
              <a:off x="7882346" y="5460824"/>
              <a:ext cx="722805" cy="168052"/>
            </a:xfrm>
            <a:prstGeom prst="rect">
              <a:avLst/>
            </a:prstGeom>
          </p:spPr>
        </p:pic>
        <p:sp>
          <p:nvSpPr>
            <p:cNvPr id="779" name="Flag_1">
              <a:extLst>
                <a:ext uri="{FF2B5EF4-FFF2-40B4-BE49-F238E27FC236}">
                  <a16:creationId xmlns:a16="http://schemas.microsoft.com/office/drawing/2014/main" id="{F227DAD0-E056-8548-29FB-610B6A8A6E1B}"/>
                </a:ext>
              </a:extLst>
            </p:cNvPr>
            <p:cNvSpPr txBox="1">
              <a:spLocks noChangeAspect="1"/>
            </p:cNvSpPr>
            <p:nvPr/>
          </p:nvSpPr>
          <p:spPr>
            <a:xfrm>
              <a:off x="8667653" y="4771524"/>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grpSp>
        <p:nvGrpSpPr>
          <p:cNvPr id="780" name="Group 779">
            <a:extLst>
              <a:ext uri="{FF2B5EF4-FFF2-40B4-BE49-F238E27FC236}">
                <a16:creationId xmlns:a16="http://schemas.microsoft.com/office/drawing/2014/main" id="{12531152-435C-3BCC-D135-FEB974A189FA}"/>
              </a:ext>
            </a:extLst>
          </p:cNvPr>
          <p:cNvGrpSpPr/>
          <p:nvPr/>
        </p:nvGrpSpPr>
        <p:grpSpPr>
          <a:xfrm>
            <a:off x="3242356" y="7889444"/>
            <a:ext cx="1280160" cy="1508427"/>
            <a:chOff x="9058093" y="2936751"/>
            <a:chExt cx="1280160" cy="1508427"/>
          </a:xfrm>
        </p:grpSpPr>
        <p:sp>
          <p:nvSpPr>
            <p:cNvPr id="781" name="Rectangle 780">
              <a:extLst>
                <a:ext uri="{FF2B5EF4-FFF2-40B4-BE49-F238E27FC236}">
                  <a16:creationId xmlns:a16="http://schemas.microsoft.com/office/drawing/2014/main" id="{E4904DBD-6266-6A5C-7B35-FA4155EBDA67}"/>
                </a:ext>
              </a:extLst>
            </p:cNvPr>
            <p:cNvSpPr>
              <a:spLocks noChangeAspect="1"/>
            </p:cNvSpPr>
            <p:nvPr/>
          </p:nvSpPr>
          <p:spPr>
            <a:xfrm>
              <a:off x="9058954" y="2936751"/>
              <a:ext cx="1278438" cy="1508427"/>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2" name="Deal type">
              <a:extLst>
                <a:ext uri="{FF2B5EF4-FFF2-40B4-BE49-F238E27FC236}">
                  <a16:creationId xmlns:a16="http://schemas.microsoft.com/office/drawing/2014/main" id="{C030A960-3B57-470B-57BF-61FB9C4EA828}"/>
                </a:ext>
              </a:extLst>
            </p:cNvPr>
            <p:cNvSpPr txBox="1">
              <a:spLocks/>
            </p:cNvSpPr>
            <p:nvPr/>
          </p:nvSpPr>
          <p:spPr>
            <a:xfrm>
              <a:off x="9058093" y="4104014"/>
              <a:ext cx="1280160" cy="336142"/>
            </a:xfrm>
            <a:prstGeom prst="rect">
              <a:avLst/>
            </a:prstGeom>
            <a:ln>
              <a:noFill/>
            </a:ln>
          </p:spPr>
          <p:txBody>
            <a:bodyPr vert="horz" wrap="square" lIns="36576" tIns="0" rIns="36576"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a:t>Advisor to Analytical Wizards on a minority investment from a strategic investor</a:t>
              </a:r>
            </a:p>
          </p:txBody>
        </p:sp>
        <p:sp>
          <p:nvSpPr>
            <p:cNvPr id="783" name="Flag_1">
              <a:extLst>
                <a:ext uri="{FF2B5EF4-FFF2-40B4-BE49-F238E27FC236}">
                  <a16:creationId xmlns:a16="http://schemas.microsoft.com/office/drawing/2014/main" id="{88E682CE-0992-1218-31D9-C7EBCC1B86BC}"/>
                </a:ext>
              </a:extLst>
            </p:cNvPr>
            <p:cNvSpPr txBox="1">
              <a:spLocks noChangeAspect="1"/>
            </p:cNvSpPr>
            <p:nvPr/>
          </p:nvSpPr>
          <p:spPr>
            <a:xfrm>
              <a:off x="10111874" y="2974642"/>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784" name="Picture 6">
              <a:extLst>
                <a:ext uri="{FF2B5EF4-FFF2-40B4-BE49-F238E27FC236}">
                  <a16:creationId xmlns:a16="http://schemas.microsoft.com/office/drawing/2014/main" id="{73E2951B-B1A6-3611-AB20-18A47CFD0796}"/>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9248560" y="3274123"/>
              <a:ext cx="899227" cy="2333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oup 43">
            <a:extLst>
              <a:ext uri="{FF2B5EF4-FFF2-40B4-BE49-F238E27FC236}">
                <a16:creationId xmlns:a16="http://schemas.microsoft.com/office/drawing/2014/main" id="{C6D56D25-6549-7E7E-B7E0-46E64DE8D131}"/>
              </a:ext>
            </a:extLst>
          </p:cNvPr>
          <p:cNvGrpSpPr/>
          <p:nvPr/>
        </p:nvGrpSpPr>
        <p:grpSpPr>
          <a:xfrm>
            <a:off x="4667837" y="7889445"/>
            <a:ext cx="1276006" cy="1508426"/>
            <a:chOff x="1855463" y="1141117"/>
            <a:chExt cx="1276006" cy="1508426"/>
          </a:xfrm>
        </p:grpSpPr>
        <p:sp>
          <p:nvSpPr>
            <p:cNvPr id="35" name="Rectangle 34">
              <a:extLst>
                <a:ext uri="{FF2B5EF4-FFF2-40B4-BE49-F238E27FC236}">
                  <a16:creationId xmlns:a16="http://schemas.microsoft.com/office/drawing/2014/main" id="{BBC5C237-7583-8CAC-EDF6-F97E23F94772}"/>
                </a:ext>
              </a:extLst>
            </p:cNvPr>
            <p:cNvSpPr>
              <a:spLocks noChangeAspect="1"/>
            </p:cNvSpPr>
            <p:nvPr/>
          </p:nvSpPr>
          <p:spPr>
            <a:xfrm>
              <a:off x="1856321" y="1141117"/>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Deal type">
              <a:extLst>
                <a:ext uri="{FF2B5EF4-FFF2-40B4-BE49-F238E27FC236}">
                  <a16:creationId xmlns:a16="http://schemas.microsoft.com/office/drawing/2014/main" id="{374E8E5A-D4AB-341C-60DB-F0C2C8D6225F}"/>
                </a:ext>
              </a:extLst>
            </p:cNvPr>
            <p:cNvSpPr txBox="1">
              <a:spLocks/>
            </p:cNvSpPr>
            <p:nvPr/>
          </p:nvSpPr>
          <p:spPr>
            <a:xfrm>
              <a:off x="1855463" y="2308379"/>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dirty="0"/>
                <a:t>Co-manager of ~$200M of convertible seniors notes for Model N</a:t>
              </a:r>
            </a:p>
          </p:txBody>
        </p:sp>
        <p:pic>
          <p:nvPicPr>
            <p:cNvPr id="41" name="Picture 40">
              <a:extLst>
                <a:ext uri="{FF2B5EF4-FFF2-40B4-BE49-F238E27FC236}">
                  <a16:creationId xmlns:a16="http://schemas.microsoft.com/office/drawing/2014/main" id="{D15A7024-637B-E2AD-619E-5DEEF0450914}"/>
                </a:ext>
              </a:extLst>
            </p:cNvPr>
            <p:cNvPicPr>
              <a:picLocks noChangeAspect="1"/>
            </p:cNvPicPr>
            <p:nvPr/>
          </p:nvPicPr>
          <p:blipFill>
            <a:blip r:embed="rId50"/>
            <a:stretch>
              <a:fillRect/>
            </a:stretch>
          </p:blipFill>
          <p:spPr>
            <a:xfrm>
              <a:off x="2012439" y="1612791"/>
              <a:ext cx="962055" cy="216463"/>
            </a:xfrm>
            <a:prstGeom prst="rect">
              <a:avLst/>
            </a:prstGeom>
          </p:spPr>
        </p:pic>
        <p:sp>
          <p:nvSpPr>
            <p:cNvPr id="43" name="Flag_1">
              <a:extLst>
                <a:ext uri="{FF2B5EF4-FFF2-40B4-BE49-F238E27FC236}">
                  <a16:creationId xmlns:a16="http://schemas.microsoft.com/office/drawing/2014/main" id="{C0FE295B-818B-B246-2251-5E54CDA1F69C}"/>
                </a:ext>
              </a:extLst>
            </p:cNvPr>
            <p:cNvSpPr txBox="1">
              <a:spLocks noChangeAspect="1"/>
            </p:cNvSpPr>
            <p:nvPr/>
          </p:nvSpPr>
          <p:spPr>
            <a:xfrm>
              <a:off x="2903229" y="1180256"/>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grpSp>
      <p:sp>
        <p:nvSpPr>
          <p:cNvPr id="52" name="Rectangle 51">
            <a:extLst>
              <a:ext uri="{FF2B5EF4-FFF2-40B4-BE49-F238E27FC236}">
                <a16:creationId xmlns:a16="http://schemas.microsoft.com/office/drawing/2014/main" id="{75FA7D0E-9300-DACD-DE7E-47C37145B3D8}"/>
              </a:ext>
            </a:extLst>
          </p:cNvPr>
          <p:cNvSpPr>
            <a:spLocks noChangeAspect="1"/>
          </p:cNvSpPr>
          <p:nvPr/>
        </p:nvSpPr>
        <p:spPr>
          <a:xfrm>
            <a:off x="6088224" y="7889445"/>
            <a:ext cx="1274290" cy="1508426"/>
          </a:xfrm>
          <a:prstGeom prst="rect">
            <a:avLst/>
          </a:prstGeom>
          <a:solidFill>
            <a:schemeClr val="bg1"/>
          </a:solidFill>
          <a:ln>
            <a:solidFill>
              <a:schemeClr val="bg1">
                <a:lumMod val="95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Deal type">
            <a:extLst>
              <a:ext uri="{FF2B5EF4-FFF2-40B4-BE49-F238E27FC236}">
                <a16:creationId xmlns:a16="http://schemas.microsoft.com/office/drawing/2014/main" id="{E0146BE9-165F-024F-7287-935B3501CA92}"/>
              </a:ext>
            </a:extLst>
          </p:cNvPr>
          <p:cNvSpPr txBox="1">
            <a:spLocks/>
          </p:cNvSpPr>
          <p:nvPr/>
        </p:nvSpPr>
        <p:spPr>
          <a:xfrm>
            <a:off x="6087366" y="9056707"/>
            <a:ext cx="1276006" cy="336142"/>
          </a:xfrm>
          <a:prstGeom prst="rect">
            <a:avLst/>
          </a:prstGeom>
          <a:ln>
            <a:noFill/>
          </a:ln>
        </p:spPr>
        <p:txBody>
          <a:bodyPr vert="horz" wrap="square" lIns="0" tIns="0" rIns="0" bIns="64008" rtlCol="0" anchor="b">
            <a:no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r>
              <a:rPr lang="en-US" sz="800" dirty="0"/>
              <a:t>Advisor to </a:t>
            </a:r>
            <a:r>
              <a:rPr lang="en-US" sz="800" dirty="0" err="1"/>
              <a:t>Medsphere</a:t>
            </a:r>
            <a:r>
              <a:rPr lang="en-US" sz="800" dirty="0"/>
              <a:t> on raising Senior Debt</a:t>
            </a:r>
          </a:p>
        </p:txBody>
      </p:sp>
      <p:sp>
        <p:nvSpPr>
          <p:cNvPr id="56" name="Flag_1">
            <a:extLst>
              <a:ext uri="{FF2B5EF4-FFF2-40B4-BE49-F238E27FC236}">
                <a16:creationId xmlns:a16="http://schemas.microsoft.com/office/drawing/2014/main" id="{3B8D3B87-858B-D6E9-BF71-38F8AA54E9CA}"/>
              </a:ext>
            </a:extLst>
          </p:cNvPr>
          <p:cNvSpPr txBox="1">
            <a:spLocks noChangeAspect="1"/>
          </p:cNvSpPr>
          <p:nvPr/>
        </p:nvSpPr>
        <p:spPr>
          <a:xfrm>
            <a:off x="7135132" y="7928584"/>
            <a:ext cx="160972" cy="160972"/>
          </a:xfrm>
          <a:prstGeom prst="rect">
            <a:avLst/>
          </a:prstGeom>
          <a:blipFill dpi="0" rotWithShape="1">
            <a:blip r:embed="rId3">
              <a:alphaModFix/>
            </a:blip>
            <a:srcRect/>
            <a:stretch>
              <a:fillRect/>
            </a:stretch>
          </a:blipFill>
          <a:ln>
            <a:noFill/>
          </a:ln>
          <a:effectLst/>
        </p:spPr>
        <p:txBody>
          <a:bodyPr vert="horz" wrap="square" lIns="18000" tIns="0" rIns="18000" bIns="0" rtlCol="0" anchor="ctr">
            <a:normAutofit/>
          </a:bodyPr>
          <a:lstStyle>
            <a:lvl1pPr marL="0" indent="0" algn="l" defTabSz="914400" rtl="0" eaLnBrk="1" latinLnBrk="0" hangingPunct="1">
              <a:lnSpc>
                <a:spcPct val="100000"/>
              </a:lnSpc>
              <a:spcBef>
                <a:spcPts val="0"/>
              </a:spcBef>
              <a:spcAft>
                <a:spcPts val="0"/>
              </a:spcAft>
              <a:buSzPct val="80000"/>
              <a:buFontTx/>
              <a:buNone/>
              <a:defRPr sz="1000" kern="1200">
                <a:solidFill>
                  <a:schemeClr val="tx1"/>
                </a:solidFill>
                <a:latin typeface="+mn-lt"/>
                <a:ea typeface="+mn-ea"/>
                <a:cs typeface="+mn-cs"/>
              </a:defRPr>
            </a:lvl1pPr>
            <a:lvl2pPr marL="144000" indent="-14400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lnSpc>
                <a:spcPct val="100000"/>
              </a:lnSpc>
              <a:spcBef>
                <a:spcPts val="0"/>
              </a:spcBef>
              <a:spcAft>
                <a:spcPts val="0"/>
              </a:spcAft>
              <a:buClr>
                <a:schemeClr val="accent1"/>
              </a:buClr>
              <a:buSzPct val="10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0"/>
              </a:spcAft>
              <a:buClr>
                <a:schemeClr val="accent2"/>
              </a:buClr>
              <a:buSzPct val="10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lnSpc>
                <a:spcPct val="100000"/>
              </a:lnSpc>
              <a:spcBef>
                <a:spcPts val="0"/>
              </a:spcBef>
              <a:spcAft>
                <a:spcPts val="0"/>
              </a:spcAft>
              <a:buClr>
                <a:schemeClr val="accent3"/>
              </a:buClr>
              <a:buSzPct val="100000"/>
              <a:buFont typeface="Wingdings" panose="05000000000000000000" pitchFamily="2" charset="2"/>
              <a:buChar char="§"/>
              <a:defRPr sz="1000" kern="1200">
                <a:solidFill>
                  <a:schemeClr val="tx1"/>
                </a:solidFill>
                <a:latin typeface="+mn-lt"/>
                <a:ea typeface="+mn-ea"/>
                <a:cs typeface="+mn-cs"/>
              </a:defRPr>
            </a:lvl5pPr>
            <a:lvl6pPr marL="720000" indent="-144000" algn="l" defTabSz="914400" rtl="0" eaLnBrk="1" latinLnBrk="0" hangingPunct="1">
              <a:lnSpc>
                <a:spcPct val="100000"/>
              </a:lnSpc>
              <a:spcBef>
                <a:spcPts val="0"/>
              </a:spcBef>
              <a:spcAft>
                <a:spcPts val="0"/>
              </a:spcAft>
              <a:buClr>
                <a:schemeClr val="accent4"/>
              </a:buClr>
              <a:buFont typeface="Wingdings" panose="05000000000000000000" pitchFamily="2" charset="2"/>
              <a:buChar char="§"/>
              <a:defRPr sz="1000" kern="1200">
                <a:solidFill>
                  <a:schemeClr val="tx1"/>
                </a:solidFill>
                <a:latin typeface="+mn-lt"/>
                <a:ea typeface="+mn-ea"/>
                <a:cs typeface="+mn-cs"/>
              </a:defRPr>
            </a:lvl6pPr>
            <a:lvl7pPr marL="864000" indent="-144000" algn="l" defTabSz="914400" rtl="0" eaLnBrk="1" latinLnBrk="0" hangingPunct="1">
              <a:lnSpc>
                <a:spcPct val="100000"/>
              </a:lnSpc>
              <a:spcBef>
                <a:spcPts val="0"/>
              </a:spcBef>
              <a:spcAft>
                <a:spcPts val="0"/>
              </a:spcAft>
              <a:buClr>
                <a:schemeClr val="accent5"/>
              </a:buClr>
              <a:buFont typeface="Wingdings" panose="05000000000000000000" pitchFamily="2" charset="2"/>
              <a:buChar char="§"/>
              <a:defRPr sz="1000" kern="1200">
                <a:solidFill>
                  <a:schemeClr val="tx1"/>
                </a:solidFill>
                <a:latin typeface="+mn-lt"/>
                <a:ea typeface="+mn-ea"/>
                <a:cs typeface="+mn-cs"/>
              </a:defRPr>
            </a:lvl7pPr>
            <a:lvl8pPr marL="1008000" indent="-144000" algn="l" defTabSz="914400" rtl="0" eaLnBrk="1" latinLnBrk="0" hangingPunct="1">
              <a:lnSpc>
                <a:spcPct val="100000"/>
              </a:lnSpc>
              <a:spcBef>
                <a:spcPts val="0"/>
              </a:spcBef>
              <a:buClr>
                <a:schemeClr val="bg2"/>
              </a:buClr>
              <a:buFont typeface="Wingdings" panose="05000000000000000000" pitchFamily="2" charset="2"/>
              <a:buChar char="§"/>
              <a:defRPr sz="1000" kern="1200">
                <a:solidFill>
                  <a:schemeClr val="tx1"/>
                </a:solidFill>
                <a:latin typeface="+mn-lt"/>
                <a:ea typeface="+mn-ea"/>
                <a:cs typeface="+mn-cs"/>
              </a:defRPr>
            </a:lvl8pPr>
            <a:lvl9pPr marL="1152000" indent="-144000" algn="l" defTabSz="914400" rtl="0" eaLnBrk="1" latinLnBrk="0" hangingPunct="1">
              <a:lnSpc>
                <a:spcPct val="100000"/>
              </a:lnSpc>
              <a:spcBef>
                <a:spcPts val="0"/>
              </a:spcBef>
              <a:buClr>
                <a:schemeClr val="accent6"/>
              </a:buClr>
              <a:buFont typeface="Wingdings" panose="05000000000000000000" pitchFamily="2" charset="2"/>
              <a:buChar char="§"/>
              <a:defRPr sz="1000" kern="1200">
                <a:solidFill>
                  <a:schemeClr val="tx1"/>
                </a:solidFill>
                <a:latin typeface="+mn-lt"/>
                <a:ea typeface="+mn-ea"/>
                <a:cs typeface="+mn-cs"/>
              </a:defRPr>
            </a:lvl9pPr>
          </a:lstStyle>
          <a:p>
            <a:pPr algn="ctr"/>
            <a:endParaRPr lang="en-GB" sz="800">
              <a:solidFill>
                <a:schemeClr val="tx1">
                  <a:lumMod val="75000"/>
                  <a:lumOff val="25000"/>
                </a:schemeClr>
              </a:solidFill>
            </a:endParaRPr>
          </a:p>
        </p:txBody>
      </p:sp>
      <p:pic>
        <p:nvPicPr>
          <p:cNvPr id="59" name="Picture 58">
            <a:extLst>
              <a:ext uri="{FF2B5EF4-FFF2-40B4-BE49-F238E27FC236}">
                <a16:creationId xmlns:a16="http://schemas.microsoft.com/office/drawing/2014/main" id="{1DADDE4A-6FC6-3D6C-69A6-A08D4E600DFC}"/>
              </a:ext>
            </a:extLst>
          </p:cNvPr>
          <p:cNvPicPr>
            <a:picLocks noChangeAspect="1"/>
          </p:cNvPicPr>
          <p:nvPr/>
        </p:nvPicPr>
        <p:blipFill>
          <a:blip r:embed="rId51">
            <a:extLst>
              <a:ext uri="{28A0092B-C50C-407E-A947-70E740481C1C}">
                <a14:useLocalDpi xmlns:a14="http://schemas.microsoft.com/office/drawing/2010/main" val="0"/>
              </a:ext>
            </a:extLst>
          </a:blip>
          <a:srcRect l="1404" t="29527" r="3584" b="29072"/>
          <a:stretch>
            <a:fillRect/>
          </a:stretch>
        </p:blipFill>
        <p:spPr>
          <a:xfrm>
            <a:off x="6240460" y="8358947"/>
            <a:ext cx="969819" cy="220807"/>
          </a:xfrm>
          <a:prstGeom prst="rect">
            <a:avLst/>
          </a:prstGeom>
        </p:spPr>
      </p:pic>
    </p:spTree>
    <p:extLst>
      <p:ext uri="{BB962C8B-B14F-4D97-AF65-F5344CB8AC3E}">
        <p14:creationId xmlns:p14="http://schemas.microsoft.com/office/powerpoint/2010/main" val="1741717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B6E6D-59AA-22CA-26B4-60BCCBB3025E}"/>
            </a:ext>
          </a:extLst>
        </p:cNvPr>
        <p:cNvGrpSpPr/>
        <p:nvPr/>
      </p:nvGrpSpPr>
      <p:grpSpPr>
        <a:xfrm>
          <a:off x="0" y="0"/>
          <a:ext cx="0" cy="0"/>
          <a:chOff x="0" y="0"/>
          <a:chExt cx="0" cy="0"/>
        </a:xfrm>
      </p:grpSpPr>
      <p:sp>
        <p:nvSpPr>
          <p:cNvPr id="31" name="TextBox 30">
            <a:extLst>
              <a:ext uri="{FF2B5EF4-FFF2-40B4-BE49-F238E27FC236}">
                <a16:creationId xmlns:a16="http://schemas.microsoft.com/office/drawing/2014/main" id="{159746DA-4BF8-949E-C37A-9C6BEFA540F9}"/>
              </a:ext>
            </a:extLst>
          </p:cNvPr>
          <p:cNvSpPr txBox="1"/>
          <p:nvPr/>
        </p:nvSpPr>
        <p:spPr>
          <a:xfrm flipH="1">
            <a:off x="406908" y="725540"/>
            <a:ext cx="6958584" cy="384721"/>
          </a:xfrm>
          <a:prstGeom prst="rect">
            <a:avLst/>
          </a:prstGeom>
          <a:noFill/>
        </p:spPr>
        <p:txBody>
          <a:bodyPr wrap="square" lIns="0" tIns="0" rIns="0" bIns="0" rtlCol="0">
            <a:spAutoFit/>
          </a:bodyPr>
          <a:lstStyle/>
          <a:p>
            <a:r>
              <a:rPr lang="en-US" sz="2500" dirty="0">
                <a:solidFill>
                  <a:schemeClr val="accent1"/>
                </a:solidFill>
                <a:latin typeface="FS Joey" panose="02000506040000020004" pitchFamily="50" charset="0"/>
              </a:rPr>
              <a:t>Alantra – Global Senior Healthcare Team</a:t>
            </a:r>
          </a:p>
        </p:txBody>
      </p:sp>
      <p:graphicFrame>
        <p:nvGraphicFramePr>
          <p:cNvPr id="2" name="Table 2">
            <a:extLst>
              <a:ext uri="{FF2B5EF4-FFF2-40B4-BE49-F238E27FC236}">
                <a16:creationId xmlns:a16="http://schemas.microsoft.com/office/drawing/2014/main" id="{03963B58-BFC7-05DF-0357-39E3708C28A1}"/>
              </a:ext>
            </a:extLst>
          </p:cNvPr>
          <p:cNvGraphicFramePr>
            <a:graphicFrameLocks noGrp="1"/>
          </p:cNvGraphicFramePr>
          <p:nvPr>
            <p:extLst>
              <p:ext uri="{D42A27DB-BD31-4B8C-83A1-F6EECF244321}">
                <p14:modId xmlns:p14="http://schemas.microsoft.com/office/powerpoint/2010/main" val="1558774287"/>
              </p:ext>
            </p:extLst>
          </p:nvPr>
        </p:nvGraphicFramePr>
        <p:xfrm>
          <a:off x="406908" y="318008"/>
          <a:ext cx="6958584" cy="201168"/>
        </p:xfrm>
        <a:graphic>
          <a:graphicData uri="http://schemas.openxmlformats.org/drawingml/2006/table">
            <a:tbl>
              <a:tblPr firstRow="1" bandRow="1">
                <a:tableStyleId>{2D5ABB26-0587-4C30-8999-92F81FD0307C}</a:tableStyleId>
              </a:tblPr>
              <a:tblGrid>
                <a:gridCol w="4327652">
                  <a:extLst>
                    <a:ext uri="{9D8B030D-6E8A-4147-A177-3AD203B41FA5}">
                      <a16:colId xmlns:a16="http://schemas.microsoft.com/office/drawing/2014/main" val="1800358546"/>
                    </a:ext>
                  </a:extLst>
                </a:gridCol>
                <a:gridCol w="1564640">
                  <a:extLst>
                    <a:ext uri="{9D8B030D-6E8A-4147-A177-3AD203B41FA5}">
                      <a16:colId xmlns:a16="http://schemas.microsoft.com/office/drawing/2014/main" val="2602549205"/>
                    </a:ext>
                  </a:extLst>
                </a:gridCol>
                <a:gridCol w="1066292">
                  <a:extLst>
                    <a:ext uri="{9D8B030D-6E8A-4147-A177-3AD203B41FA5}">
                      <a16:colId xmlns:a16="http://schemas.microsoft.com/office/drawing/2014/main" val="52187482"/>
                    </a:ext>
                  </a:extLst>
                </a:gridCol>
              </a:tblGrid>
              <a:tr h="17399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latin typeface="+mn-lt"/>
                        </a:rPr>
                        <a:t>Reinserting Capitalism into Healthcare with Elan Adler, CEO of </a:t>
                      </a:r>
                      <a:r>
                        <a:rPr lang="en-US" sz="900" dirty="0" err="1">
                          <a:latin typeface="+mn-lt"/>
                        </a:rPr>
                        <a:t>OneImaging</a:t>
                      </a:r>
                      <a:endParaRPr lang="en-US" sz="900" dirty="0">
                        <a:latin typeface="+mn-lt"/>
                      </a:endParaRPr>
                    </a:p>
                  </a:txBody>
                  <a:tcPr marL="0" marR="0" marT="0" marB="64008"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latin typeface="+mn-lt"/>
                        </a:rPr>
                        <a:t>Podcast Episode Release</a:t>
                      </a:r>
                    </a:p>
                  </a:txBody>
                  <a:tcPr marR="0" marT="0" marB="64008" anchor="b">
                    <a:lnL w="9525" cap="flat" cmpd="sng" algn="ctr">
                      <a:solidFill>
                        <a:schemeClr val="tx1"/>
                      </a:solidFill>
                      <a:prstDash val="solid"/>
                      <a:round/>
                      <a:headEnd type="none" w="med" len="med"/>
                      <a:tailEnd type="none" w="med" len="med"/>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77240" rtl="0" eaLnBrk="1" fontAlgn="auto" latinLnBrk="0" hangingPunct="1">
                        <a:lnSpc>
                          <a:spcPct val="100000"/>
                        </a:lnSpc>
                        <a:spcBef>
                          <a:spcPts val="0"/>
                        </a:spcBef>
                        <a:spcAft>
                          <a:spcPts val="0"/>
                        </a:spcAft>
                        <a:buClrTx/>
                        <a:buSzTx/>
                        <a:buFontTx/>
                        <a:buNone/>
                        <a:tabLst/>
                        <a:defRPr/>
                      </a:pPr>
                      <a:r>
                        <a:rPr lang="en-US" sz="900" dirty="0"/>
                        <a:t>13</a:t>
                      </a:r>
                    </a:p>
                  </a:txBody>
                  <a:tcPr marL="0" marR="0" marT="0" marB="64008" anchor="b">
                    <a:lnL>
                      <a:noFill/>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6628539"/>
                  </a:ext>
                </a:extLst>
              </a:tr>
            </a:tbl>
          </a:graphicData>
        </a:graphic>
      </p:graphicFrame>
      <p:grpSp>
        <p:nvGrpSpPr>
          <p:cNvPr id="13" name="Group 12">
            <a:extLst>
              <a:ext uri="{FF2B5EF4-FFF2-40B4-BE49-F238E27FC236}">
                <a16:creationId xmlns:a16="http://schemas.microsoft.com/office/drawing/2014/main" id="{68EF7150-523B-DED1-5323-E441FB2218EA}"/>
              </a:ext>
            </a:extLst>
          </p:cNvPr>
          <p:cNvGrpSpPr/>
          <p:nvPr/>
        </p:nvGrpSpPr>
        <p:grpSpPr>
          <a:xfrm>
            <a:off x="2766060" y="2084406"/>
            <a:ext cx="2240281" cy="784830"/>
            <a:chOff x="2766060" y="2084406"/>
            <a:chExt cx="2240281" cy="784830"/>
          </a:xfrm>
        </p:grpSpPr>
        <p:sp>
          <p:nvSpPr>
            <p:cNvPr id="40" name="Rectangle 39">
              <a:extLst>
                <a:ext uri="{FF2B5EF4-FFF2-40B4-BE49-F238E27FC236}">
                  <a16:creationId xmlns:a16="http://schemas.microsoft.com/office/drawing/2014/main" id="{71C542E7-19EA-AFB1-78FE-17B199F6AC50}"/>
                </a:ext>
              </a:extLst>
            </p:cNvPr>
            <p:cNvSpPr/>
            <p:nvPr/>
          </p:nvSpPr>
          <p:spPr>
            <a:xfrm>
              <a:off x="2766060" y="2084406"/>
              <a:ext cx="2240280" cy="784830"/>
            </a:xfrm>
            <a:prstGeom prst="rect">
              <a:avLst/>
            </a:prstGeom>
            <a:solidFill>
              <a:schemeClr val="bg1"/>
            </a:solidFill>
            <a:ln>
              <a:noFill/>
            </a:ln>
            <a:effectLst>
              <a:outerShdw blurRad="12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4" name="Picture 53">
              <a:extLst>
                <a:ext uri="{FF2B5EF4-FFF2-40B4-BE49-F238E27FC236}">
                  <a16:creationId xmlns:a16="http://schemas.microsoft.com/office/drawing/2014/main" id="{24528232-69AE-43DD-D562-166D5A5DECF8}"/>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773428" y="2200452"/>
              <a:ext cx="155448" cy="155448"/>
            </a:xfrm>
            <a:prstGeom prst="ellipse">
              <a:avLst/>
            </a:prstGeom>
          </p:spPr>
        </p:pic>
        <p:pic>
          <p:nvPicPr>
            <p:cNvPr id="37" name="Picture 36" descr="A person in a suit and tie&#10;&#10;Description automatically generated with medium confidence">
              <a:extLst>
                <a:ext uri="{FF2B5EF4-FFF2-40B4-BE49-F238E27FC236}">
                  <a16:creationId xmlns:a16="http://schemas.microsoft.com/office/drawing/2014/main" id="{26EFE4FE-8CBA-7509-1BD3-8D4057E006C7}"/>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l="-66"/>
            <a:stretch/>
          </p:blipFill>
          <p:spPr>
            <a:xfrm>
              <a:off x="2845046" y="2220789"/>
              <a:ext cx="512064" cy="512064"/>
            </a:xfrm>
            <a:prstGeom prst="ellipse">
              <a:avLst/>
            </a:prstGeom>
            <a:ln>
              <a:solidFill>
                <a:schemeClr val="bg1"/>
              </a:solidFill>
            </a:ln>
          </p:spPr>
        </p:pic>
        <p:sp>
          <p:nvSpPr>
            <p:cNvPr id="41" name="TextBox 40">
              <a:extLst>
                <a:ext uri="{FF2B5EF4-FFF2-40B4-BE49-F238E27FC236}">
                  <a16:creationId xmlns:a16="http://schemas.microsoft.com/office/drawing/2014/main" id="{ED6139EF-8AE1-745F-94F6-99EE793BA02C}"/>
                </a:ext>
              </a:extLst>
            </p:cNvPr>
            <p:cNvSpPr txBox="1"/>
            <p:nvPr/>
          </p:nvSpPr>
          <p:spPr>
            <a:xfrm>
              <a:off x="3359549" y="2145961"/>
              <a:ext cx="1646792" cy="661720"/>
            </a:xfrm>
            <a:prstGeom prst="rect">
              <a:avLst/>
            </a:prstGeom>
          </p:spPr>
          <p:txBody>
            <a:bodyPr wrap="square" rIns="0" rtlCol="0" anchor="t">
              <a:spAutoFit/>
            </a:bodyPr>
            <a:lstStyle/>
            <a:p>
              <a:r>
                <a:rPr lang="en-US" sz="1200" b="1" dirty="0">
                  <a:solidFill>
                    <a:schemeClr val="accent1"/>
                  </a:solidFill>
                  <a:latin typeface="FS Joey" panose="02000506040000020004" pitchFamily="50" charset="0"/>
                </a:rPr>
                <a:t>Frederic Laurier</a:t>
              </a:r>
            </a:p>
            <a:p>
              <a:r>
                <a:rPr lang="en-US" sz="1100" dirty="0">
                  <a:latin typeface="FS Joey" panose="02000506040000020004" pitchFamily="50" charset="0"/>
                </a:rPr>
                <a:t>Managing Director</a:t>
              </a:r>
            </a:p>
            <a:p>
              <a:pPr>
                <a:spcBef>
                  <a:spcPts val="600"/>
                </a:spcBef>
              </a:pPr>
              <a:r>
                <a:rPr lang="en-US" sz="900" dirty="0">
                  <a:latin typeface="FS Joey" panose="02000506040000020004" pitchFamily="50" charset="0"/>
                </a:rPr>
                <a:t>frederic.laurier@alantra.com</a:t>
              </a:r>
            </a:p>
          </p:txBody>
        </p:sp>
      </p:grpSp>
      <p:grpSp>
        <p:nvGrpSpPr>
          <p:cNvPr id="11" name="Group 10">
            <a:extLst>
              <a:ext uri="{FF2B5EF4-FFF2-40B4-BE49-F238E27FC236}">
                <a16:creationId xmlns:a16="http://schemas.microsoft.com/office/drawing/2014/main" id="{A3ACC531-9BF9-5B57-020D-AB1A2D2884F8}"/>
              </a:ext>
            </a:extLst>
          </p:cNvPr>
          <p:cNvGrpSpPr/>
          <p:nvPr/>
        </p:nvGrpSpPr>
        <p:grpSpPr>
          <a:xfrm>
            <a:off x="406907" y="3330936"/>
            <a:ext cx="2240281" cy="784830"/>
            <a:chOff x="5125211" y="2084406"/>
            <a:chExt cx="2240281" cy="784830"/>
          </a:xfrm>
        </p:grpSpPr>
        <p:sp>
          <p:nvSpPr>
            <p:cNvPr id="42" name="Rectangle 41">
              <a:extLst>
                <a:ext uri="{FF2B5EF4-FFF2-40B4-BE49-F238E27FC236}">
                  <a16:creationId xmlns:a16="http://schemas.microsoft.com/office/drawing/2014/main" id="{F1DDDFA1-A86E-2135-639B-CEAEE1B4B12C}"/>
                </a:ext>
              </a:extLst>
            </p:cNvPr>
            <p:cNvSpPr/>
            <p:nvPr/>
          </p:nvSpPr>
          <p:spPr>
            <a:xfrm>
              <a:off x="5125211" y="2084406"/>
              <a:ext cx="2240280" cy="784830"/>
            </a:xfrm>
            <a:prstGeom prst="rect">
              <a:avLst/>
            </a:prstGeom>
            <a:solidFill>
              <a:schemeClr val="bg1"/>
            </a:solidFill>
            <a:ln>
              <a:noFill/>
            </a:ln>
            <a:effectLst>
              <a:outerShdw blurRad="12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69" name="Picture 68">
              <a:extLst>
                <a:ext uri="{FF2B5EF4-FFF2-40B4-BE49-F238E27FC236}">
                  <a16:creationId xmlns:a16="http://schemas.microsoft.com/office/drawing/2014/main" id="{ED0D34C3-A58C-4213-B958-5B61AB1B8AA8}"/>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5207076" y="2220789"/>
              <a:ext cx="512064" cy="512064"/>
            </a:xfrm>
            <a:prstGeom prst="ellipse">
              <a:avLst/>
            </a:prstGeom>
            <a:ln>
              <a:solidFill>
                <a:schemeClr val="bg1"/>
              </a:solidFill>
            </a:ln>
          </p:spPr>
        </p:pic>
        <p:sp>
          <p:nvSpPr>
            <p:cNvPr id="43" name="TextBox 42">
              <a:extLst>
                <a:ext uri="{FF2B5EF4-FFF2-40B4-BE49-F238E27FC236}">
                  <a16:creationId xmlns:a16="http://schemas.microsoft.com/office/drawing/2014/main" id="{DA39AE84-FFCC-7C50-2034-56C15B560EF2}"/>
                </a:ext>
              </a:extLst>
            </p:cNvPr>
            <p:cNvSpPr txBox="1"/>
            <p:nvPr/>
          </p:nvSpPr>
          <p:spPr>
            <a:xfrm>
              <a:off x="5718700" y="2145961"/>
              <a:ext cx="1646792" cy="661720"/>
            </a:xfrm>
            <a:prstGeom prst="rect">
              <a:avLst/>
            </a:prstGeom>
          </p:spPr>
          <p:txBody>
            <a:bodyPr wrap="square" rIns="0" rtlCol="0" anchor="t">
              <a:spAutoFit/>
            </a:bodyPr>
            <a:lstStyle/>
            <a:p>
              <a:r>
                <a:rPr lang="en-US" sz="1200" b="1" dirty="0">
                  <a:solidFill>
                    <a:schemeClr val="accent1"/>
                  </a:solidFill>
                  <a:latin typeface="FS Joey" panose="02000506040000020004" pitchFamily="50" charset="0"/>
                </a:rPr>
                <a:t>Matthew Wiseman</a:t>
              </a:r>
            </a:p>
            <a:p>
              <a:r>
                <a:rPr lang="en-US" sz="1100" dirty="0">
                  <a:latin typeface="FS Joey" panose="02000506040000020004" pitchFamily="50" charset="0"/>
                </a:rPr>
                <a:t>Partner</a:t>
              </a:r>
            </a:p>
            <a:p>
              <a:pPr>
                <a:spcBef>
                  <a:spcPts val="600"/>
                </a:spcBef>
              </a:pPr>
              <a:r>
                <a:rPr lang="en-US" sz="900" dirty="0">
                  <a:latin typeface="FS Joey" panose="02000506040000020004" pitchFamily="50" charset="0"/>
                </a:rPr>
                <a:t>matthew.wiseman@alantra.com</a:t>
              </a:r>
            </a:p>
          </p:txBody>
        </p:sp>
        <p:pic>
          <p:nvPicPr>
            <p:cNvPr id="89" name="Picture 88">
              <a:extLst>
                <a:ext uri="{FF2B5EF4-FFF2-40B4-BE49-F238E27FC236}">
                  <a16:creationId xmlns:a16="http://schemas.microsoft.com/office/drawing/2014/main" id="{FDAD6B02-C5B3-1EBF-32CA-508D9D8C358E}"/>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7124786" y="2200452"/>
              <a:ext cx="155448" cy="155448"/>
            </a:xfrm>
            <a:prstGeom prst="ellipse">
              <a:avLst/>
            </a:prstGeom>
          </p:spPr>
        </p:pic>
      </p:grpSp>
      <p:grpSp>
        <p:nvGrpSpPr>
          <p:cNvPr id="12" name="Group 11">
            <a:extLst>
              <a:ext uri="{FF2B5EF4-FFF2-40B4-BE49-F238E27FC236}">
                <a16:creationId xmlns:a16="http://schemas.microsoft.com/office/drawing/2014/main" id="{6FFEE602-9CAE-60A5-3BD0-C1AE675A0CC8}"/>
              </a:ext>
            </a:extLst>
          </p:cNvPr>
          <p:cNvGrpSpPr/>
          <p:nvPr/>
        </p:nvGrpSpPr>
        <p:grpSpPr>
          <a:xfrm>
            <a:off x="406908" y="2084406"/>
            <a:ext cx="2240281" cy="784830"/>
            <a:chOff x="406908" y="2084406"/>
            <a:chExt cx="2240281" cy="784830"/>
          </a:xfrm>
        </p:grpSpPr>
        <p:sp>
          <p:nvSpPr>
            <p:cNvPr id="38" name="Rectangle 37">
              <a:extLst>
                <a:ext uri="{FF2B5EF4-FFF2-40B4-BE49-F238E27FC236}">
                  <a16:creationId xmlns:a16="http://schemas.microsoft.com/office/drawing/2014/main" id="{3A1E493C-674B-D997-B392-9A1AA87BC381}"/>
                </a:ext>
              </a:extLst>
            </p:cNvPr>
            <p:cNvSpPr/>
            <p:nvPr/>
          </p:nvSpPr>
          <p:spPr>
            <a:xfrm>
              <a:off x="406908" y="2084406"/>
              <a:ext cx="2240280" cy="784830"/>
            </a:xfrm>
            <a:prstGeom prst="rect">
              <a:avLst/>
            </a:prstGeom>
            <a:solidFill>
              <a:schemeClr val="bg1"/>
            </a:solidFill>
            <a:ln>
              <a:noFill/>
            </a:ln>
            <a:effectLst>
              <a:outerShdw blurRad="12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9" name="TextBox 38">
              <a:extLst>
                <a:ext uri="{FF2B5EF4-FFF2-40B4-BE49-F238E27FC236}">
                  <a16:creationId xmlns:a16="http://schemas.microsoft.com/office/drawing/2014/main" id="{6E543651-172E-4EC2-2910-491C1DB878AC}"/>
                </a:ext>
              </a:extLst>
            </p:cNvPr>
            <p:cNvSpPr txBox="1"/>
            <p:nvPr/>
          </p:nvSpPr>
          <p:spPr>
            <a:xfrm>
              <a:off x="1000397" y="2145961"/>
              <a:ext cx="1646792" cy="661720"/>
            </a:xfrm>
            <a:prstGeom prst="rect">
              <a:avLst/>
            </a:prstGeom>
          </p:spPr>
          <p:txBody>
            <a:bodyPr wrap="square" rIns="0" rtlCol="0" anchor="t">
              <a:spAutoFit/>
            </a:bodyPr>
            <a:lstStyle/>
            <a:p>
              <a:r>
                <a:rPr lang="en-US" sz="1200" b="1" dirty="0">
                  <a:solidFill>
                    <a:schemeClr val="accent1"/>
                  </a:solidFill>
                  <a:latin typeface="FS Joey" panose="02000506040000020004" pitchFamily="50" charset="0"/>
                </a:rPr>
                <a:t>Rusty Ray</a:t>
              </a:r>
            </a:p>
            <a:p>
              <a:r>
                <a:rPr lang="en-US" sz="1100" dirty="0">
                  <a:latin typeface="FS Joey" panose="02000506040000020004" pitchFamily="50" charset="0"/>
                </a:rPr>
                <a:t>Managing Partner</a:t>
              </a:r>
            </a:p>
            <a:p>
              <a:pPr>
                <a:spcBef>
                  <a:spcPts val="600"/>
                </a:spcBef>
              </a:pPr>
              <a:r>
                <a:rPr lang="en-US" sz="900" dirty="0">
                  <a:latin typeface="FS Joey" panose="02000506040000020004" pitchFamily="50" charset="0"/>
                </a:rPr>
                <a:t>rusty.ray@alantra.com</a:t>
              </a:r>
            </a:p>
          </p:txBody>
        </p:sp>
        <p:pic>
          <p:nvPicPr>
            <p:cNvPr id="72" name="Picture 71" descr="A person in a suit and tie&#10;&#10;Description automatically generated with medium confidence">
              <a:extLst>
                <a:ext uri="{FF2B5EF4-FFF2-40B4-BE49-F238E27FC236}">
                  <a16:creationId xmlns:a16="http://schemas.microsoft.com/office/drawing/2014/main" id="{5668285E-D9AE-924A-A094-A860CE138DA2}"/>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2675" r="2675" b="5351"/>
            <a:stretch/>
          </p:blipFill>
          <p:spPr>
            <a:xfrm>
              <a:off x="506162" y="2220789"/>
              <a:ext cx="512064" cy="512064"/>
            </a:xfrm>
            <a:prstGeom prst="ellipse">
              <a:avLst/>
            </a:prstGeom>
            <a:ln>
              <a:solidFill>
                <a:schemeClr val="bg1"/>
              </a:solidFill>
            </a:ln>
          </p:spPr>
        </p:pic>
        <p:pic>
          <p:nvPicPr>
            <p:cNvPr id="97" name="Picture 96">
              <a:extLst>
                <a:ext uri="{FF2B5EF4-FFF2-40B4-BE49-F238E27FC236}">
                  <a16:creationId xmlns:a16="http://schemas.microsoft.com/office/drawing/2014/main" id="{E3DDE01B-1C34-944A-8A4A-6C91D7B5870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2407066" y="2200452"/>
              <a:ext cx="155448" cy="155448"/>
            </a:xfrm>
            <a:prstGeom prst="ellipse">
              <a:avLst/>
            </a:prstGeom>
          </p:spPr>
        </p:pic>
      </p:grpSp>
      <p:sp>
        <p:nvSpPr>
          <p:cNvPr id="98" name="Circle: Hollow 97">
            <a:extLst>
              <a:ext uri="{FF2B5EF4-FFF2-40B4-BE49-F238E27FC236}">
                <a16:creationId xmlns:a16="http://schemas.microsoft.com/office/drawing/2014/main" id="{565252F2-6D7A-2D06-AB82-F128ACBBD9CF}"/>
              </a:ext>
            </a:extLst>
          </p:cNvPr>
          <p:cNvSpPr/>
          <p:nvPr/>
        </p:nvSpPr>
        <p:spPr>
          <a:xfrm>
            <a:off x="0" y="7323414"/>
            <a:ext cx="7772400" cy="7772400"/>
          </a:xfrm>
          <a:prstGeom prst="donut">
            <a:avLst>
              <a:gd name="adj" fmla="val 19521"/>
            </a:avLst>
          </a:prstGeom>
          <a:solidFill>
            <a:srgbClr val="CCD5AE">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FS Joey" panose="02000506040000020004" pitchFamily="50" charset="0"/>
            </a:endParaRPr>
          </a:p>
        </p:txBody>
      </p:sp>
      <p:sp>
        <p:nvSpPr>
          <p:cNvPr id="99" name="TextBox 98">
            <a:extLst>
              <a:ext uri="{FF2B5EF4-FFF2-40B4-BE49-F238E27FC236}">
                <a16:creationId xmlns:a16="http://schemas.microsoft.com/office/drawing/2014/main" id="{DC58D0FD-BDB8-7032-5066-A3B2F4701785}"/>
              </a:ext>
            </a:extLst>
          </p:cNvPr>
          <p:cNvSpPr txBox="1"/>
          <p:nvPr/>
        </p:nvSpPr>
        <p:spPr>
          <a:xfrm flipH="1">
            <a:off x="406905" y="1156214"/>
            <a:ext cx="6958585" cy="461665"/>
          </a:xfrm>
          <a:prstGeom prst="rect">
            <a:avLst/>
          </a:prstGeom>
          <a:noFill/>
        </p:spPr>
        <p:txBody>
          <a:bodyPr wrap="square" lIns="0" rIns="0" rtlCol="0">
            <a:spAutoFit/>
          </a:bodyPr>
          <a:lstStyle/>
          <a:p>
            <a:r>
              <a:rPr lang="en-US" sz="1200" dirty="0"/>
              <a:t>Alantra benefits from a global senior Healthcare team with deep local presence, able to reach global strategics and investors</a:t>
            </a:r>
          </a:p>
        </p:txBody>
      </p:sp>
      <p:grpSp>
        <p:nvGrpSpPr>
          <p:cNvPr id="9" name="Group 8">
            <a:extLst>
              <a:ext uri="{FF2B5EF4-FFF2-40B4-BE49-F238E27FC236}">
                <a16:creationId xmlns:a16="http://schemas.microsoft.com/office/drawing/2014/main" id="{078D80D6-A6E8-3C9C-9FFF-63C302491FF3}"/>
              </a:ext>
            </a:extLst>
          </p:cNvPr>
          <p:cNvGrpSpPr/>
          <p:nvPr/>
        </p:nvGrpSpPr>
        <p:grpSpPr>
          <a:xfrm>
            <a:off x="2766059" y="3330936"/>
            <a:ext cx="2240281" cy="784830"/>
            <a:chOff x="406907" y="3330936"/>
            <a:chExt cx="2240281" cy="784830"/>
          </a:xfrm>
        </p:grpSpPr>
        <p:sp>
          <p:nvSpPr>
            <p:cNvPr id="44" name="Rectangle 43">
              <a:extLst>
                <a:ext uri="{FF2B5EF4-FFF2-40B4-BE49-F238E27FC236}">
                  <a16:creationId xmlns:a16="http://schemas.microsoft.com/office/drawing/2014/main" id="{AA9B7AFE-7EA9-C30E-3891-9CDFB7C05749}"/>
                </a:ext>
              </a:extLst>
            </p:cNvPr>
            <p:cNvSpPr/>
            <p:nvPr/>
          </p:nvSpPr>
          <p:spPr>
            <a:xfrm>
              <a:off x="406907" y="3330936"/>
              <a:ext cx="2240280" cy="784830"/>
            </a:xfrm>
            <a:prstGeom prst="rect">
              <a:avLst/>
            </a:prstGeom>
            <a:solidFill>
              <a:schemeClr val="bg1"/>
            </a:solidFill>
            <a:ln>
              <a:noFill/>
            </a:ln>
            <a:effectLst>
              <a:outerShdw blurRad="12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35" name="Picture 34" descr="A person in a suit smiling&#10;&#10;Description automatically generated with medium confidence">
              <a:extLst>
                <a:ext uri="{FF2B5EF4-FFF2-40B4-BE49-F238E27FC236}">
                  <a16:creationId xmlns:a16="http://schemas.microsoft.com/office/drawing/2014/main" id="{48ADE746-ACC4-3E0E-C690-30C3F5034DE5}"/>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06162" y="3467319"/>
              <a:ext cx="512064" cy="512064"/>
            </a:xfrm>
            <a:prstGeom prst="ellipse">
              <a:avLst/>
            </a:prstGeom>
            <a:ln>
              <a:solidFill>
                <a:schemeClr val="bg1"/>
              </a:solidFill>
            </a:ln>
          </p:spPr>
        </p:pic>
        <p:pic>
          <p:nvPicPr>
            <p:cNvPr id="55" name="Picture 54">
              <a:extLst>
                <a:ext uri="{FF2B5EF4-FFF2-40B4-BE49-F238E27FC236}">
                  <a16:creationId xmlns:a16="http://schemas.microsoft.com/office/drawing/2014/main" id="{3392E5B8-A9B4-8149-04C0-53C484FA81F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2407066" y="3449896"/>
              <a:ext cx="155448" cy="155448"/>
            </a:xfrm>
            <a:prstGeom prst="ellipse">
              <a:avLst/>
            </a:prstGeom>
          </p:spPr>
        </p:pic>
        <p:sp>
          <p:nvSpPr>
            <p:cNvPr id="45" name="TextBox 44">
              <a:extLst>
                <a:ext uri="{FF2B5EF4-FFF2-40B4-BE49-F238E27FC236}">
                  <a16:creationId xmlns:a16="http://schemas.microsoft.com/office/drawing/2014/main" id="{E792C2D3-6FD7-3581-96EB-40DAB5481D3B}"/>
                </a:ext>
              </a:extLst>
            </p:cNvPr>
            <p:cNvSpPr txBox="1"/>
            <p:nvPr/>
          </p:nvSpPr>
          <p:spPr>
            <a:xfrm>
              <a:off x="1000396" y="3392491"/>
              <a:ext cx="1646792" cy="661720"/>
            </a:xfrm>
            <a:prstGeom prst="rect">
              <a:avLst/>
            </a:prstGeom>
          </p:spPr>
          <p:txBody>
            <a:bodyPr wrap="square" rIns="0" rtlCol="0" anchor="t">
              <a:spAutoFit/>
            </a:bodyPr>
            <a:lstStyle/>
            <a:p>
              <a:r>
                <a:rPr lang="en-US" sz="1200" b="1" dirty="0">
                  <a:solidFill>
                    <a:schemeClr val="accent1"/>
                  </a:solidFill>
                  <a:latin typeface="FS Joey" panose="02000506040000020004" pitchFamily="50" charset="0"/>
                </a:rPr>
                <a:t>Justin Crowther</a:t>
              </a:r>
            </a:p>
            <a:p>
              <a:r>
                <a:rPr lang="en-US" sz="1100" dirty="0">
                  <a:latin typeface="FS Joey" panose="02000506040000020004" pitchFamily="50" charset="0"/>
                </a:rPr>
                <a:t>Partner</a:t>
              </a:r>
            </a:p>
            <a:p>
              <a:pPr>
                <a:spcBef>
                  <a:spcPts val="600"/>
                </a:spcBef>
              </a:pPr>
              <a:r>
                <a:rPr lang="en-US" sz="900" dirty="0">
                  <a:latin typeface="FS Joey" panose="02000506040000020004" pitchFamily="50" charset="0"/>
                </a:rPr>
                <a:t>justin.crowther@alantra.com</a:t>
              </a:r>
            </a:p>
          </p:txBody>
        </p:sp>
      </p:grpSp>
      <p:grpSp>
        <p:nvGrpSpPr>
          <p:cNvPr id="8" name="Group 7">
            <a:extLst>
              <a:ext uri="{FF2B5EF4-FFF2-40B4-BE49-F238E27FC236}">
                <a16:creationId xmlns:a16="http://schemas.microsoft.com/office/drawing/2014/main" id="{00B08F9F-49C2-4497-896C-8CAC8D61FD22}"/>
              </a:ext>
            </a:extLst>
          </p:cNvPr>
          <p:cNvGrpSpPr/>
          <p:nvPr/>
        </p:nvGrpSpPr>
        <p:grpSpPr>
          <a:xfrm>
            <a:off x="406906" y="4577466"/>
            <a:ext cx="2240281" cy="784830"/>
            <a:chOff x="5125210" y="3330936"/>
            <a:chExt cx="2240281" cy="784830"/>
          </a:xfrm>
        </p:grpSpPr>
        <p:sp>
          <p:nvSpPr>
            <p:cNvPr id="48" name="Rectangle 47">
              <a:extLst>
                <a:ext uri="{FF2B5EF4-FFF2-40B4-BE49-F238E27FC236}">
                  <a16:creationId xmlns:a16="http://schemas.microsoft.com/office/drawing/2014/main" id="{00B7FAD0-486F-FB84-180B-FA2496631AE2}"/>
                </a:ext>
              </a:extLst>
            </p:cNvPr>
            <p:cNvSpPr/>
            <p:nvPr/>
          </p:nvSpPr>
          <p:spPr>
            <a:xfrm>
              <a:off x="5125210" y="3330936"/>
              <a:ext cx="2240280" cy="784830"/>
            </a:xfrm>
            <a:prstGeom prst="rect">
              <a:avLst/>
            </a:prstGeom>
            <a:solidFill>
              <a:schemeClr val="bg1"/>
            </a:solidFill>
            <a:ln>
              <a:noFill/>
            </a:ln>
            <a:effectLst>
              <a:outerShdw blurRad="12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7" name="Picture 56" descr="A person in a suit and tie&#10;&#10;Description automatically generated with medium confidence">
              <a:extLst>
                <a:ext uri="{FF2B5EF4-FFF2-40B4-BE49-F238E27FC236}">
                  <a16:creationId xmlns:a16="http://schemas.microsoft.com/office/drawing/2014/main" id="{75E809E8-E664-1028-5092-5EF968551882}"/>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5204661" y="3467319"/>
              <a:ext cx="507279" cy="512064"/>
            </a:xfrm>
            <a:prstGeom prst="ellipse">
              <a:avLst/>
            </a:prstGeom>
            <a:ln>
              <a:solidFill>
                <a:schemeClr val="bg1"/>
              </a:solidFill>
            </a:ln>
          </p:spPr>
        </p:pic>
        <p:pic>
          <p:nvPicPr>
            <p:cNvPr id="56" name="Picture 55">
              <a:extLst>
                <a:ext uri="{FF2B5EF4-FFF2-40B4-BE49-F238E27FC236}">
                  <a16:creationId xmlns:a16="http://schemas.microsoft.com/office/drawing/2014/main" id="{9A481D1E-0B52-743C-00AF-D2C19D22CBC3}"/>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7124786" y="3449896"/>
              <a:ext cx="155448" cy="155448"/>
            </a:xfrm>
            <a:prstGeom prst="ellipse">
              <a:avLst/>
            </a:prstGeom>
          </p:spPr>
        </p:pic>
        <p:sp>
          <p:nvSpPr>
            <p:cNvPr id="49" name="TextBox 48">
              <a:extLst>
                <a:ext uri="{FF2B5EF4-FFF2-40B4-BE49-F238E27FC236}">
                  <a16:creationId xmlns:a16="http://schemas.microsoft.com/office/drawing/2014/main" id="{E3717C21-62E6-4066-3E9A-6A673EEE431B}"/>
                </a:ext>
              </a:extLst>
            </p:cNvPr>
            <p:cNvSpPr txBox="1"/>
            <p:nvPr/>
          </p:nvSpPr>
          <p:spPr>
            <a:xfrm>
              <a:off x="5718699" y="3392491"/>
              <a:ext cx="1646792" cy="661720"/>
            </a:xfrm>
            <a:prstGeom prst="rect">
              <a:avLst/>
            </a:prstGeom>
          </p:spPr>
          <p:txBody>
            <a:bodyPr wrap="square" rIns="0" rtlCol="0" anchor="t">
              <a:spAutoFit/>
            </a:bodyPr>
            <a:lstStyle/>
            <a:p>
              <a:r>
                <a:rPr lang="en-US" sz="1200" b="1" dirty="0">
                  <a:solidFill>
                    <a:schemeClr val="accent1"/>
                  </a:solidFill>
                  <a:latin typeface="FS Joey" panose="02000506040000020004" pitchFamily="50" charset="0"/>
                </a:rPr>
                <a:t>Franck </a:t>
              </a:r>
              <a:r>
                <a:rPr lang="en-US" sz="1200" b="1" dirty="0" err="1">
                  <a:solidFill>
                    <a:schemeClr val="accent1"/>
                  </a:solidFill>
                  <a:latin typeface="FS Joey" panose="02000506040000020004" pitchFamily="50" charset="0"/>
                </a:rPr>
                <a:t>Noat</a:t>
              </a:r>
              <a:endParaRPr lang="en-US" sz="1200" b="1" dirty="0">
                <a:solidFill>
                  <a:schemeClr val="accent1"/>
                </a:solidFill>
                <a:latin typeface="FS Joey" panose="02000506040000020004" pitchFamily="50" charset="0"/>
              </a:endParaRPr>
            </a:p>
            <a:p>
              <a:r>
                <a:rPr lang="en-US" sz="1100" dirty="0">
                  <a:latin typeface="FS Joey" panose="02000506040000020004" pitchFamily="50" charset="0"/>
                </a:rPr>
                <a:t>Managing Director</a:t>
              </a:r>
            </a:p>
            <a:p>
              <a:pPr>
                <a:spcBef>
                  <a:spcPts val="600"/>
                </a:spcBef>
              </a:pPr>
              <a:r>
                <a:rPr lang="en-US" sz="900" dirty="0">
                  <a:latin typeface="FS Joey" panose="02000506040000020004" pitchFamily="50" charset="0"/>
                </a:rPr>
                <a:t>franck.noat@alantra.com</a:t>
              </a:r>
            </a:p>
          </p:txBody>
        </p:sp>
      </p:grpSp>
      <p:grpSp>
        <p:nvGrpSpPr>
          <p:cNvPr id="10" name="Group 9">
            <a:extLst>
              <a:ext uri="{FF2B5EF4-FFF2-40B4-BE49-F238E27FC236}">
                <a16:creationId xmlns:a16="http://schemas.microsoft.com/office/drawing/2014/main" id="{4458D703-ADFF-09C6-ED2D-07C8A0D54B25}"/>
              </a:ext>
            </a:extLst>
          </p:cNvPr>
          <p:cNvGrpSpPr/>
          <p:nvPr/>
        </p:nvGrpSpPr>
        <p:grpSpPr>
          <a:xfrm>
            <a:off x="5125210" y="3330936"/>
            <a:ext cx="2240281" cy="784830"/>
            <a:chOff x="2766059" y="3330936"/>
            <a:chExt cx="2240281" cy="784830"/>
          </a:xfrm>
        </p:grpSpPr>
        <p:sp>
          <p:nvSpPr>
            <p:cNvPr id="46" name="Rectangle 45">
              <a:extLst>
                <a:ext uri="{FF2B5EF4-FFF2-40B4-BE49-F238E27FC236}">
                  <a16:creationId xmlns:a16="http://schemas.microsoft.com/office/drawing/2014/main" id="{B0E248FC-1CF8-BEFD-93DD-A5214804B28B}"/>
                </a:ext>
              </a:extLst>
            </p:cNvPr>
            <p:cNvSpPr/>
            <p:nvPr/>
          </p:nvSpPr>
          <p:spPr>
            <a:xfrm>
              <a:off x="2766059" y="3330936"/>
              <a:ext cx="2240280" cy="784830"/>
            </a:xfrm>
            <a:prstGeom prst="rect">
              <a:avLst/>
            </a:prstGeom>
            <a:solidFill>
              <a:schemeClr val="bg1"/>
            </a:solidFill>
            <a:ln>
              <a:noFill/>
            </a:ln>
            <a:effectLst>
              <a:outerShdw blurRad="12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74" name="Picture 73" descr="A person in a suit&#10;&#10;Description automatically generated with medium confidence">
              <a:extLst>
                <a:ext uri="{FF2B5EF4-FFF2-40B4-BE49-F238E27FC236}">
                  <a16:creationId xmlns:a16="http://schemas.microsoft.com/office/drawing/2014/main" id="{CD0BC48F-A95D-A8C0-9C1F-49A15FC9506C}"/>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2845092" y="3467319"/>
              <a:ext cx="525306" cy="512064"/>
            </a:xfrm>
            <a:prstGeom prst="ellipse">
              <a:avLst/>
            </a:prstGeom>
            <a:ln>
              <a:noFill/>
            </a:ln>
          </p:spPr>
        </p:pic>
        <p:sp>
          <p:nvSpPr>
            <p:cNvPr id="47" name="TextBox 46">
              <a:extLst>
                <a:ext uri="{FF2B5EF4-FFF2-40B4-BE49-F238E27FC236}">
                  <a16:creationId xmlns:a16="http://schemas.microsoft.com/office/drawing/2014/main" id="{31BDB8EE-F3EA-92F6-04EA-18E28F39997C}"/>
                </a:ext>
              </a:extLst>
            </p:cNvPr>
            <p:cNvSpPr txBox="1"/>
            <p:nvPr/>
          </p:nvSpPr>
          <p:spPr>
            <a:xfrm>
              <a:off x="3359548" y="3392491"/>
              <a:ext cx="1646792" cy="661720"/>
            </a:xfrm>
            <a:prstGeom prst="rect">
              <a:avLst/>
            </a:prstGeom>
          </p:spPr>
          <p:txBody>
            <a:bodyPr wrap="square" rIns="0" rtlCol="0" anchor="t">
              <a:spAutoFit/>
            </a:bodyPr>
            <a:lstStyle/>
            <a:p>
              <a:r>
                <a:rPr lang="en-US" sz="1200" b="1" dirty="0">
                  <a:solidFill>
                    <a:schemeClr val="accent1"/>
                  </a:solidFill>
                  <a:latin typeface="FS Joey" panose="02000506040000020004" pitchFamily="50" charset="0"/>
                </a:rPr>
                <a:t>Fabrice Scheer</a:t>
              </a:r>
            </a:p>
            <a:p>
              <a:r>
                <a:rPr lang="en-US" sz="1100" dirty="0">
                  <a:latin typeface="FS Joey" panose="02000506040000020004" pitchFamily="50" charset="0"/>
                </a:rPr>
                <a:t>Managing Director</a:t>
              </a:r>
            </a:p>
            <a:p>
              <a:pPr>
                <a:spcBef>
                  <a:spcPts val="600"/>
                </a:spcBef>
              </a:pPr>
              <a:r>
                <a:rPr lang="en-US" sz="900" dirty="0">
                  <a:latin typeface="FS Joey" panose="02000506040000020004" pitchFamily="50" charset="0"/>
                </a:rPr>
                <a:t>fabrice.scheer@alantra.com</a:t>
              </a:r>
            </a:p>
          </p:txBody>
        </p:sp>
        <p:pic>
          <p:nvPicPr>
            <p:cNvPr id="90" name="Picture 89">
              <a:extLst>
                <a:ext uri="{FF2B5EF4-FFF2-40B4-BE49-F238E27FC236}">
                  <a16:creationId xmlns:a16="http://schemas.microsoft.com/office/drawing/2014/main" id="{88B4A894-2ED4-60DC-BCB7-6C5527841574}"/>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4773428" y="3449896"/>
              <a:ext cx="155448" cy="155448"/>
            </a:xfrm>
            <a:prstGeom prst="ellipse">
              <a:avLst/>
            </a:prstGeom>
          </p:spPr>
        </p:pic>
      </p:grpSp>
      <p:grpSp>
        <p:nvGrpSpPr>
          <p:cNvPr id="6" name="Group 5">
            <a:extLst>
              <a:ext uri="{FF2B5EF4-FFF2-40B4-BE49-F238E27FC236}">
                <a16:creationId xmlns:a16="http://schemas.microsoft.com/office/drawing/2014/main" id="{4BA8DB0E-84C9-2E86-8864-A0E98382B60F}"/>
              </a:ext>
            </a:extLst>
          </p:cNvPr>
          <p:cNvGrpSpPr/>
          <p:nvPr/>
        </p:nvGrpSpPr>
        <p:grpSpPr>
          <a:xfrm>
            <a:off x="5125209" y="4577466"/>
            <a:ext cx="2240281" cy="784830"/>
            <a:chOff x="2766058" y="4577466"/>
            <a:chExt cx="2240281" cy="784830"/>
          </a:xfrm>
        </p:grpSpPr>
        <p:sp>
          <p:nvSpPr>
            <p:cNvPr id="52" name="Rectangle 51">
              <a:extLst>
                <a:ext uri="{FF2B5EF4-FFF2-40B4-BE49-F238E27FC236}">
                  <a16:creationId xmlns:a16="http://schemas.microsoft.com/office/drawing/2014/main" id="{E622283A-0D4D-EE07-FC5C-5E1F172D60CC}"/>
                </a:ext>
              </a:extLst>
            </p:cNvPr>
            <p:cNvSpPr/>
            <p:nvPr/>
          </p:nvSpPr>
          <p:spPr>
            <a:xfrm>
              <a:off x="2766058" y="4577466"/>
              <a:ext cx="2240280" cy="784830"/>
            </a:xfrm>
            <a:prstGeom prst="rect">
              <a:avLst/>
            </a:prstGeom>
            <a:solidFill>
              <a:schemeClr val="bg1"/>
            </a:solidFill>
            <a:ln>
              <a:noFill/>
            </a:ln>
            <a:effectLst>
              <a:outerShdw blurRad="12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83" name="Picture 82">
              <a:extLst>
                <a:ext uri="{FF2B5EF4-FFF2-40B4-BE49-F238E27FC236}">
                  <a16:creationId xmlns:a16="http://schemas.microsoft.com/office/drawing/2014/main" id="{FD20AF1E-F403-67F2-E5DA-7A1425C1E71B}"/>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a:off x="4773428" y="4699340"/>
              <a:ext cx="155448" cy="155448"/>
            </a:xfrm>
            <a:prstGeom prst="ellipse">
              <a:avLst/>
            </a:prstGeom>
          </p:spPr>
        </p:pic>
        <p:pic>
          <p:nvPicPr>
            <p:cNvPr id="68" name="Picture 67" descr="A person in a suit and tie&#10;&#10;Description automatically generated with medium confidence">
              <a:extLst>
                <a:ext uri="{FF2B5EF4-FFF2-40B4-BE49-F238E27FC236}">
                  <a16:creationId xmlns:a16="http://schemas.microsoft.com/office/drawing/2014/main" id="{08D6CB56-0719-3EDA-A7D1-49932CCFB179}"/>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2845092" y="4713849"/>
              <a:ext cx="507278" cy="512064"/>
            </a:xfrm>
            <a:prstGeom prst="ellipse">
              <a:avLst/>
            </a:prstGeom>
            <a:ln>
              <a:solidFill>
                <a:schemeClr val="bg1"/>
              </a:solidFill>
            </a:ln>
          </p:spPr>
        </p:pic>
        <p:sp>
          <p:nvSpPr>
            <p:cNvPr id="53" name="TextBox 52">
              <a:extLst>
                <a:ext uri="{FF2B5EF4-FFF2-40B4-BE49-F238E27FC236}">
                  <a16:creationId xmlns:a16="http://schemas.microsoft.com/office/drawing/2014/main" id="{44F9CE2A-39B7-1100-CD8D-6FB87CDA4EF1}"/>
                </a:ext>
              </a:extLst>
            </p:cNvPr>
            <p:cNvSpPr txBox="1"/>
            <p:nvPr/>
          </p:nvSpPr>
          <p:spPr>
            <a:xfrm>
              <a:off x="3359547" y="4639021"/>
              <a:ext cx="1646792" cy="661720"/>
            </a:xfrm>
            <a:prstGeom prst="rect">
              <a:avLst/>
            </a:prstGeom>
          </p:spPr>
          <p:txBody>
            <a:bodyPr wrap="square" rIns="0" rtlCol="0" anchor="t">
              <a:spAutoFit/>
            </a:bodyPr>
            <a:lstStyle/>
            <a:p>
              <a:r>
                <a:rPr lang="en-US" sz="1200" b="1" dirty="0">
                  <a:solidFill>
                    <a:schemeClr val="accent1"/>
                  </a:solidFill>
                  <a:latin typeface="FS Joey" panose="02000506040000020004" pitchFamily="50" charset="0"/>
                </a:rPr>
                <a:t>Jonas Bauréus</a:t>
              </a:r>
            </a:p>
            <a:p>
              <a:r>
                <a:rPr lang="en-US" sz="1100" dirty="0">
                  <a:latin typeface="FS Joey" panose="02000506040000020004" pitchFamily="50" charset="0"/>
                </a:rPr>
                <a:t>Managing Director</a:t>
              </a:r>
            </a:p>
            <a:p>
              <a:pPr>
                <a:spcBef>
                  <a:spcPts val="600"/>
                </a:spcBef>
              </a:pPr>
              <a:r>
                <a:rPr lang="en-US" sz="900" dirty="0">
                  <a:latin typeface="FS Joey" panose="02000506040000020004" pitchFamily="50" charset="0"/>
                </a:rPr>
                <a:t>jonas.baureus@alantra.com</a:t>
              </a:r>
            </a:p>
          </p:txBody>
        </p:sp>
      </p:grpSp>
      <p:grpSp>
        <p:nvGrpSpPr>
          <p:cNvPr id="7" name="Group 6">
            <a:extLst>
              <a:ext uri="{FF2B5EF4-FFF2-40B4-BE49-F238E27FC236}">
                <a16:creationId xmlns:a16="http://schemas.microsoft.com/office/drawing/2014/main" id="{6D304064-17E1-146A-8ED9-8A5E80845BC3}"/>
              </a:ext>
            </a:extLst>
          </p:cNvPr>
          <p:cNvGrpSpPr/>
          <p:nvPr/>
        </p:nvGrpSpPr>
        <p:grpSpPr>
          <a:xfrm>
            <a:off x="406905" y="5823996"/>
            <a:ext cx="2240281" cy="784830"/>
            <a:chOff x="5125209" y="4577466"/>
            <a:chExt cx="2240281" cy="784830"/>
          </a:xfrm>
        </p:grpSpPr>
        <p:sp>
          <p:nvSpPr>
            <p:cNvPr id="66" name="Rectangle 65">
              <a:extLst>
                <a:ext uri="{FF2B5EF4-FFF2-40B4-BE49-F238E27FC236}">
                  <a16:creationId xmlns:a16="http://schemas.microsoft.com/office/drawing/2014/main" id="{DE919F20-FBB8-9BF2-DB40-E93896B8E2AC}"/>
                </a:ext>
              </a:extLst>
            </p:cNvPr>
            <p:cNvSpPr/>
            <p:nvPr/>
          </p:nvSpPr>
          <p:spPr>
            <a:xfrm>
              <a:off x="5125209" y="4577466"/>
              <a:ext cx="2240280" cy="784830"/>
            </a:xfrm>
            <a:prstGeom prst="rect">
              <a:avLst/>
            </a:prstGeom>
            <a:solidFill>
              <a:schemeClr val="bg1"/>
            </a:solidFill>
            <a:ln>
              <a:noFill/>
            </a:ln>
            <a:effectLst>
              <a:outerShdw blurRad="12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7" name="TextBox 66">
              <a:extLst>
                <a:ext uri="{FF2B5EF4-FFF2-40B4-BE49-F238E27FC236}">
                  <a16:creationId xmlns:a16="http://schemas.microsoft.com/office/drawing/2014/main" id="{D803065F-8DC9-C761-4E5A-A2BBC6863874}"/>
                </a:ext>
              </a:extLst>
            </p:cNvPr>
            <p:cNvSpPr txBox="1"/>
            <p:nvPr/>
          </p:nvSpPr>
          <p:spPr>
            <a:xfrm>
              <a:off x="5718698" y="4639021"/>
              <a:ext cx="1646792" cy="661720"/>
            </a:xfrm>
            <a:prstGeom prst="rect">
              <a:avLst/>
            </a:prstGeom>
          </p:spPr>
          <p:txBody>
            <a:bodyPr wrap="square" rIns="0" rtlCol="0" anchor="t">
              <a:spAutoFit/>
            </a:bodyPr>
            <a:lstStyle/>
            <a:p>
              <a:r>
                <a:rPr lang="en-US" sz="1200" b="1" dirty="0">
                  <a:solidFill>
                    <a:schemeClr val="accent1"/>
                  </a:solidFill>
                  <a:latin typeface="FS Joey" panose="02000506040000020004" pitchFamily="50" charset="0"/>
                </a:rPr>
                <a:t>Gianni Casanova</a:t>
              </a:r>
            </a:p>
            <a:p>
              <a:r>
                <a:rPr lang="en-US" sz="1100" dirty="0">
                  <a:latin typeface="FS Joey" panose="02000506040000020004" pitchFamily="50" charset="0"/>
                </a:rPr>
                <a:t>Partner</a:t>
              </a:r>
            </a:p>
            <a:p>
              <a:pPr>
                <a:spcBef>
                  <a:spcPts val="600"/>
                </a:spcBef>
              </a:pPr>
              <a:r>
                <a:rPr lang="en-US" sz="900" dirty="0">
                  <a:latin typeface="FS Joey" panose="02000506040000020004" pitchFamily="50" charset="0"/>
                </a:rPr>
                <a:t>gianni.casanova@alantra.com</a:t>
              </a:r>
            </a:p>
          </p:txBody>
        </p:sp>
        <p:pic>
          <p:nvPicPr>
            <p:cNvPr id="80" name="Picture 79" descr="A person in a suit&#10;&#10;Description automatically generated with medium confidence">
              <a:extLst>
                <a:ext uri="{FF2B5EF4-FFF2-40B4-BE49-F238E27FC236}">
                  <a16:creationId xmlns:a16="http://schemas.microsoft.com/office/drawing/2014/main" id="{3F804352-3FDD-3B68-EF84-CBC2556DDE4C}"/>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5207076" y="4713849"/>
              <a:ext cx="512064" cy="512064"/>
            </a:xfrm>
            <a:prstGeom prst="ellipse">
              <a:avLst/>
            </a:prstGeom>
            <a:ln>
              <a:solidFill>
                <a:schemeClr val="bg1"/>
              </a:solidFill>
            </a:ln>
          </p:spPr>
        </p:pic>
        <p:pic>
          <p:nvPicPr>
            <p:cNvPr id="86" name="Picture 85">
              <a:extLst>
                <a:ext uri="{FF2B5EF4-FFF2-40B4-BE49-F238E27FC236}">
                  <a16:creationId xmlns:a16="http://schemas.microsoft.com/office/drawing/2014/main" id="{0565EFCD-4DC0-1D19-FFC7-9021CA1CAB37}"/>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a:stretch/>
          </p:blipFill>
          <p:spPr>
            <a:xfrm>
              <a:off x="7124786" y="4705167"/>
              <a:ext cx="155448" cy="155448"/>
            </a:xfrm>
            <a:prstGeom prst="ellipse">
              <a:avLst/>
            </a:prstGeom>
          </p:spPr>
        </p:pic>
      </p:grpSp>
      <p:grpSp>
        <p:nvGrpSpPr>
          <p:cNvPr id="5" name="Group 4">
            <a:extLst>
              <a:ext uri="{FF2B5EF4-FFF2-40B4-BE49-F238E27FC236}">
                <a16:creationId xmlns:a16="http://schemas.microsoft.com/office/drawing/2014/main" id="{838642F8-B218-731E-508A-E68231B82181}"/>
              </a:ext>
            </a:extLst>
          </p:cNvPr>
          <p:cNvGrpSpPr/>
          <p:nvPr/>
        </p:nvGrpSpPr>
        <p:grpSpPr>
          <a:xfrm>
            <a:off x="2766058" y="4577466"/>
            <a:ext cx="2240281" cy="784830"/>
            <a:chOff x="406906" y="4577466"/>
            <a:chExt cx="2240281" cy="784830"/>
          </a:xfrm>
        </p:grpSpPr>
        <p:sp>
          <p:nvSpPr>
            <p:cNvPr id="50" name="Rectangle 49">
              <a:extLst>
                <a:ext uri="{FF2B5EF4-FFF2-40B4-BE49-F238E27FC236}">
                  <a16:creationId xmlns:a16="http://schemas.microsoft.com/office/drawing/2014/main" id="{C252F4E4-8569-C21E-2A89-78C82110336F}"/>
                </a:ext>
              </a:extLst>
            </p:cNvPr>
            <p:cNvSpPr/>
            <p:nvPr/>
          </p:nvSpPr>
          <p:spPr>
            <a:xfrm>
              <a:off x="406906" y="4577466"/>
              <a:ext cx="2240280" cy="784830"/>
            </a:xfrm>
            <a:prstGeom prst="rect">
              <a:avLst/>
            </a:prstGeom>
            <a:solidFill>
              <a:schemeClr val="bg1"/>
            </a:solidFill>
            <a:ln>
              <a:noFill/>
            </a:ln>
            <a:effectLst>
              <a:outerShdw blurRad="12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9" name="Picture 58">
              <a:extLst>
                <a:ext uri="{FF2B5EF4-FFF2-40B4-BE49-F238E27FC236}">
                  <a16:creationId xmlns:a16="http://schemas.microsoft.com/office/drawing/2014/main" id="{59006554-4831-8E81-DDB1-CCA52BD9EE37}"/>
                </a:ext>
              </a:extLst>
            </p:cNvPr>
            <p:cNvPicPr>
              <a:picLocks noChangeAspect="1"/>
            </p:cNvPicPr>
            <p:nvPr/>
          </p:nvPicPr>
          <p:blipFill rotWithShape="1">
            <a:blip r:embed="rId16"/>
            <a:srcRect l="14634" t="77597" r="34540" b="3218"/>
            <a:stretch/>
          </p:blipFill>
          <p:spPr>
            <a:xfrm>
              <a:off x="2407066" y="4699340"/>
              <a:ext cx="155448" cy="155448"/>
            </a:xfrm>
            <a:prstGeom prst="ellipse">
              <a:avLst/>
            </a:prstGeom>
          </p:spPr>
        </p:pic>
        <p:sp>
          <p:nvSpPr>
            <p:cNvPr id="51" name="TextBox 50">
              <a:extLst>
                <a:ext uri="{FF2B5EF4-FFF2-40B4-BE49-F238E27FC236}">
                  <a16:creationId xmlns:a16="http://schemas.microsoft.com/office/drawing/2014/main" id="{6570F963-1072-FBEE-0D16-6E968C92C0D3}"/>
                </a:ext>
              </a:extLst>
            </p:cNvPr>
            <p:cNvSpPr txBox="1"/>
            <p:nvPr/>
          </p:nvSpPr>
          <p:spPr>
            <a:xfrm>
              <a:off x="1000395" y="4639021"/>
              <a:ext cx="1646792" cy="661720"/>
            </a:xfrm>
            <a:prstGeom prst="rect">
              <a:avLst/>
            </a:prstGeom>
          </p:spPr>
          <p:txBody>
            <a:bodyPr wrap="square" rIns="0" rtlCol="0" anchor="t">
              <a:spAutoFit/>
            </a:bodyPr>
            <a:lstStyle/>
            <a:p>
              <a:r>
                <a:rPr lang="en-US" sz="1200" b="1" dirty="0">
                  <a:solidFill>
                    <a:schemeClr val="accent1"/>
                  </a:solidFill>
                  <a:latin typeface="FS Joey" panose="02000506040000020004" pitchFamily="50" charset="0"/>
                </a:rPr>
                <a:t>Michael Maag</a:t>
              </a:r>
            </a:p>
            <a:p>
              <a:r>
                <a:rPr lang="en-US" sz="1100" dirty="0">
                  <a:latin typeface="FS Joey" panose="02000506040000020004" pitchFamily="50" charset="0"/>
                </a:rPr>
                <a:t>Managing Partner</a:t>
              </a:r>
            </a:p>
            <a:p>
              <a:pPr>
                <a:spcBef>
                  <a:spcPts val="600"/>
                </a:spcBef>
              </a:pPr>
              <a:r>
                <a:rPr lang="en-US" sz="900" dirty="0">
                  <a:latin typeface="FS Joey" panose="02000506040000020004" pitchFamily="50" charset="0"/>
                </a:rPr>
                <a:t>michael.maag@alantra.com</a:t>
              </a:r>
            </a:p>
          </p:txBody>
        </p:sp>
        <p:pic>
          <p:nvPicPr>
            <p:cNvPr id="58" name="Picture 4">
              <a:extLst>
                <a:ext uri="{FF2B5EF4-FFF2-40B4-BE49-F238E27FC236}">
                  <a16:creationId xmlns:a16="http://schemas.microsoft.com/office/drawing/2014/main" id="{27A0E9A3-FD2F-CA6F-130A-A2F413D9CCD7}"/>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319" r="1319"/>
            <a:stretch/>
          </p:blipFill>
          <p:spPr bwMode="auto">
            <a:xfrm>
              <a:off x="506162" y="4713849"/>
              <a:ext cx="512064" cy="512064"/>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49501915-DF91-09F2-8C4F-1AC0FA3725AB}"/>
              </a:ext>
            </a:extLst>
          </p:cNvPr>
          <p:cNvGrpSpPr/>
          <p:nvPr/>
        </p:nvGrpSpPr>
        <p:grpSpPr>
          <a:xfrm>
            <a:off x="2766057" y="5823996"/>
            <a:ext cx="2240281" cy="784830"/>
            <a:chOff x="406905" y="5823996"/>
            <a:chExt cx="2240281" cy="784830"/>
          </a:xfrm>
        </p:grpSpPr>
        <p:sp>
          <p:nvSpPr>
            <p:cNvPr id="19" name="Rectangle 18">
              <a:extLst>
                <a:ext uri="{FF2B5EF4-FFF2-40B4-BE49-F238E27FC236}">
                  <a16:creationId xmlns:a16="http://schemas.microsoft.com/office/drawing/2014/main" id="{DE55D975-D344-81B8-0044-F679295E935C}"/>
                </a:ext>
              </a:extLst>
            </p:cNvPr>
            <p:cNvSpPr/>
            <p:nvPr/>
          </p:nvSpPr>
          <p:spPr>
            <a:xfrm>
              <a:off x="406905" y="5823996"/>
              <a:ext cx="2240280" cy="784830"/>
            </a:xfrm>
            <a:prstGeom prst="rect">
              <a:avLst/>
            </a:prstGeom>
            <a:solidFill>
              <a:schemeClr val="bg1"/>
            </a:solidFill>
            <a:ln>
              <a:noFill/>
            </a:ln>
            <a:effectLst>
              <a:outerShdw blurRad="12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64" name="Picture 10">
              <a:extLst>
                <a:ext uri="{FF2B5EF4-FFF2-40B4-BE49-F238E27FC236}">
                  <a16:creationId xmlns:a16="http://schemas.microsoft.com/office/drawing/2014/main" id="{89D5D9F1-C2D3-2204-C191-743E6CE989E2}"/>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1319" r="1319"/>
            <a:stretch/>
          </p:blipFill>
          <p:spPr bwMode="auto">
            <a:xfrm>
              <a:off x="506161" y="5960379"/>
              <a:ext cx="512064" cy="512064"/>
            </a:xfrm>
            <a:prstGeom prst="ellipse">
              <a:avLst/>
            </a:prstGeom>
            <a:noFill/>
            <a:extLst>
              <a:ext uri="{909E8E84-426E-40DD-AFC4-6F175D3DCCD1}">
                <a14:hiddenFill xmlns:a14="http://schemas.microsoft.com/office/drawing/2010/main">
                  <a:solidFill>
                    <a:srgbClr val="FFFFFF"/>
                  </a:solidFill>
                </a14:hiddenFill>
              </a:ext>
            </a:extLst>
          </p:spPr>
        </p:pic>
        <p:pic>
          <p:nvPicPr>
            <p:cNvPr id="61" name="Picture 12">
              <a:extLst>
                <a:ext uri="{FF2B5EF4-FFF2-40B4-BE49-F238E27FC236}">
                  <a16:creationId xmlns:a16="http://schemas.microsoft.com/office/drawing/2014/main" id="{9438883A-9B0A-FE5B-F07F-5327DFAEDB59}"/>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638" t="-727" r="49166" b="727"/>
            <a:stretch/>
          </p:blipFill>
          <p:spPr bwMode="auto">
            <a:xfrm>
              <a:off x="2407066" y="5945870"/>
              <a:ext cx="155448" cy="155448"/>
            </a:xfrm>
            <a:prstGeom prst="ellipse">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767907D3-73FD-48BF-DB14-994B5CDF6ADF}"/>
                </a:ext>
              </a:extLst>
            </p:cNvPr>
            <p:cNvSpPr txBox="1"/>
            <p:nvPr/>
          </p:nvSpPr>
          <p:spPr>
            <a:xfrm>
              <a:off x="1000394" y="5885551"/>
              <a:ext cx="1646792" cy="661720"/>
            </a:xfrm>
            <a:prstGeom prst="rect">
              <a:avLst/>
            </a:prstGeom>
          </p:spPr>
          <p:txBody>
            <a:bodyPr wrap="square" rIns="0" rtlCol="0" anchor="t">
              <a:spAutoFit/>
            </a:bodyPr>
            <a:lstStyle/>
            <a:p>
              <a:r>
                <a:rPr lang="en-US" sz="1200" b="1" dirty="0">
                  <a:solidFill>
                    <a:schemeClr val="accent1"/>
                  </a:solidFill>
                  <a:latin typeface="FS Joey" panose="02000506040000020004" pitchFamily="50" charset="0"/>
                </a:rPr>
                <a:t>Saad Ashraf</a:t>
              </a:r>
            </a:p>
            <a:p>
              <a:r>
                <a:rPr lang="en-US" sz="1100" dirty="0">
                  <a:latin typeface="FS Joey" panose="02000506040000020004" pitchFamily="50" charset="0"/>
                </a:rPr>
                <a:t>Managing Director</a:t>
              </a:r>
            </a:p>
            <a:p>
              <a:pPr>
                <a:spcBef>
                  <a:spcPts val="600"/>
                </a:spcBef>
              </a:pPr>
              <a:r>
                <a:rPr lang="en-US" sz="900" dirty="0">
                  <a:latin typeface="FS Joey" panose="02000506040000020004" pitchFamily="50" charset="0"/>
                </a:rPr>
                <a:t>saad.ashraf@alantra.com</a:t>
              </a:r>
            </a:p>
          </p:txBody>
        </p:sp>
      </p:grpSp>
      <p:sp>
        <p:nvSpPr>
          <p:cNvPr id="28" name="Rectangle 27">
            <a:extLst>
              <a:ext uri="{FF2B5EF4-FFF2-40B4-BE49-F238E27FC236}">
                <a16:creationId xmlns:a16="http://schemas.microsoft.com/office/drawing/2014/main" id="{55CE2621-8B38-8E54-538D-079BD3CFF304}"/>
              </a:ext>
            </a:extLst>
          </p:cNvPr>
          <p:cNvSpPr/>
          <p:nvPr/>
        </p:nvSpPr>
        <p:spPr>
          <a:xfrm>
            <a:off x="5125211" y="2084406"/>
            <a:ext cx="2240280" cy="784830"/>
          </a:xfrm>
          <a:prstGeom prst="rect">
            <a:avLst/>
          </a:prstGeom>
          <a:solidFill>
            <a:schemeClr val="bg1"/>
          </a:solidFill>
          <a:ln>
            <a:noFill/>
          </a:ln>
          <a:effectLst>
            <a:outerShdw blurRad="12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9" name="TextBox 28">
            <a:extLst>
              <a:ext uri="{FF2B5EF4-FFF2-40B4-BE49-F238E27FC236}">
                <a16:creationId xmlns:a16="http://schemas.microsoft.com/office/drawing/2014/main" id="{808AABB7-BFE8-D584-D77F-3A70B0405C52}"/>
              </a:ext>
            </a:extLst>
          </p:cNvPr>
          <p:cNvSpPr txBox="1"/>
          <p:nvPr/>
        </p:nvSpPr>
        <p:spPr>
          <a:xfrm>
            <a:off x="5718700" y="2145961"/>
            <a:ext cx="1646792" cy="661720"/>
          </a:xfrm>
          <a:prstGeom prst="rect">
            <a:avLst/>
          </a:prstGeom>
        </p:spPr>
        <p:txBody>
          <a:bodyPr wrap="square" rIns="0" rtlCol="0" anchor="t">
            <a:spAutoFit/>
          </a:bodyPr>
          <a:lstStyle/>
          <a:p>
            <a:r>
              <a:rPr lang="en-US" sz="1200" b="1" dirty="0">
                <a:solidFill>
                  <a:schemeClr val="accent1"/>
                </a:solidFill>
                <a:latin typeface="FS Joey" panose="02000506040000020004" pitchFamily="50" charset="0"/>
              </a:rPr>
              <a:t>Zeke Navar</a:t>
            </a:r>
          </a:p>
          <a:p>
            <a:r>
              <a:rPr lang="en-US" sz="1100" dirty="0">
                <a:latin typeface="FS Joey" panose="02000506040000020004" pitchFamily="50" charset="0"/>
              </a:rPr>
              <a:t>Managing Director</a:t>
            </a:r>
          </a:p>
          <a:p>
            <a:pPr>
              <a:spcBef>
                <a:spcPts val="600"/>
              </a:spcBef>
            </a:pPr>
            <a:r>
              <a:rPr lang="en-US" sz="900" dirty="0">
                <a:latin typeface="FS Joey" panose="02000506040000020004" pitchFamily="50" charset="0"/>
              </a:rPr>
              <a:t>zeke.navar@alantra.com</a:t>
            </a:r>
          </a:p>
        </p:txBody>
      </p:sp>
      <p:grpSp>
        <p:nvGrpSpPr>
          <p:cNvPr id="3" name="Group 2">
            <a:extLst>
              <a:ext uri="{FF2B5EF4-FFF2-40B4-BE49-F238E27FC236}">
                <a16:creationId xmlns:a16="http://schemas.microsoft.com/office/drawing/2014/main" id="{F99835C3-B7EB-FD02-BFA7-F7EE0C16356B}"/>
              </a:ext>
            </a:extLst>
          </p:cNvPr>
          <p:cNvGrpSpPr/>
          <p:nvPr/>
        </p:nvGrpSpPr>
        <p:grpSpPr>
          <a:xfrm>
            <a:off x="5125208" y="5823996"/>
            <a:ext cx="2240281" cy="784830"/>
            <a:chOff x="2766057" y="5823996"/>
            <a:chExt cx="2240281" cy="784830"/>
          </a:xfrm>
        </p:grpSpPr>
        <p:sp>
          <p:nvSpPr>
            <p:cNvPr id="21" name="Rectangle 20">
              <a:extLst>
                <a:ext uri="{FF2B5EF4-FFF2-40B4-BE49-F238E27FC236}">
                  <a16:creationId xmlns:a16="http://schemas.microsoft.com/office/drawing/2014/main" id="{905A952B-6062-F7C2-0321-C46B35DD0E87}"/>
                </a:ext>
              </a:extLst>
            </p:cNvPr>
            <p:cNvSpPr/>
            <p:nvPr/>
          </p:nvSpPr>
          <p:spPr>
            <a:xfrm>
              <a:off x="2766057" y="5823996"/>
              <a:ext cx="2240280" cy="784830"/>
            </a:xfrm>
            <a:prstGeom prst="rect">
              <a:avLst/>
            </a:prstGeom>
            <a:solidFill>
              <a:schemeClr val="bg1"/>
            </a:solidFill>
            <a:ln>
              <a:noFill/>
            </a:ln>
            <a:effectLst>
              <a:outerShdw blurRad="12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92" name="Picture 91">
              <a:extLst>
                <a:ext uri="{FF2B5EF4-FFF2-40B4-BE49-F238E27FC236}">
                  <a16:creationId xmlns:a16="http://schemas.microsoft.com/office/drawing/2014/main" id="{23E27A7A-8708-BE42-8D8A-37128ABB500B}"/>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a:stretch/>
          </p:blipFill>
          <p:spPr>
            <a:xfrm>
              <a:off x="4773427" y="5945870"/>
              <a:ext cx="155448" cy="155448"/>
            </a:xfrm>
            <a:prstGeom prst="ellipse">
              <a:avLst/>
            </a:prstGeom>
          </p:spPr>
        </p:pic>
        <p:sp>
          <p:nvSpPr>
            <p:cNvPr id="22" name="TextBox 21">
              <a:extLst>
                <a:ext uri="{FF2B5EF4-FFF2-40B4-BE49-F238E27FC236}">
                  <a16:creationId xmlns:a16="http://schemas.microsoft.com/office/drawing/2014/main" id="{E6C25FC4-9B71-586A-79EC-C01B04B5C4DA}"/>
                </a:ext>
              </a:extLst>
            </p:cNvPr>
            <p:cNvSpPr txBox="1"/>
            <p:nvPr/>
          </p:nvSpPr>
          <p:spPr>
            <a:xfrm>
              <a:off x="3359546" y="5885551"/>
              <a:ext cx="1646792" cy="661720"/>
            </a:xfrm>
            <a:prstGeom prst="rect">
              <a:avLst/>
            </a:prstGeom>
          </p:spPr>
          <p:txBody>
            <a:bodyPr wrap="square" rIns="0" rtlCol="0" anchor="t">
              <a:spAutoFit/>
            </a:bodyPr>
            <a:lstStyle/>
            <a:p>
              <a:r>
                <a:rPr lang="en-US" sz="1200" b="1" dirty="0">
                  <a:solidFill>
                    <a:schemeClr val="accent1"/>
                  </a:solidFill>
                  <a:latin typeface="FS Joey" panose="02000506040000020004" pitchFamily="50" charset="0"/>
                </a:rPr>
                <a:t>Guillermo </a:t>
              </a:r>
              <a:r>
                <a:rPr lang="en-US" sz="1200" b="1" dirty="0" err="1">
                  <a:solidFill>
                    <a:schemeClr val="accent1"/>
                  </a:solidFill>
                  <a:latin typeface="FS Joey" panose="02000506040000020004" pitchFamily="50" charset="0"/>
                </a:rPr>
                <a:t>Arbolí</a:t>
              </a:r>
              <a:r>
                <a:rPr lang="en-US" sz="1200" b="1" dirty="0">
                  <a:solidFill>
                    <a:schemeClr val="accent1"/>
                  </a:solidFill>
                  <a:latin typeface="FS Joey" panose="02000506040000020004" pitchFamily="50" charset="0"/>
                </a:rPr>
                <a:t> </a:t>
              </a:r>
            </a:p>
            <a:p>
              <a:r>
                <a:rPr lang="en-US" sz="1100" dirty="0">
                  <a:latin typeface="FS Joey" panose="02000506040000020004" pitchFamily="50" charset="0"/>
                </a:rPr>
                <a:t>Managing Director</a:t>
              </a:r>
            </a:p>
            <a:p>
              <a:pPr>
                <a:spcBef>
                  <a:spcPts val="600"/>
                </a:spcBef>
              </a:pPr>
              <a:r>
                <a:rPr lang="en-US" sz="900" dirty="0">
                  <a:latin typeface="FS Joey" panose="02000506040000020004" pitchFamily="50" charset="0"/>
                </a:rPr>
                <a:t>guillermo.arboli@alantra.com</a:t>
              </a:r>
            </a:p>
          </p:txBody>
        </p:sp>
        <p:pic>
          <p:nvPicPr>
            <p:cNvPr id="65" name="Picture 64" descr="A person smiling for the camera&#10;&#10;Description automatically generated with medium confidence">
              <a:extLst>
                <a:ext uri="{FF2B5EF4-FFF2-40B4-BE49-F238E27FC236}">
                  <a16:creationId xmlns:a16="http://schemas.microsoft.com/office/drawing/2014/main" id="{650B7F83-77E9-53FE-F66C-D1254F02C5D1}"/>
                </a:ext>
              </a:extLst>
            </p:cNvPr>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2845092" y="5960379"/>
              <a:ext cx="507187" cy="512064"/>
            </a:xfrm>
            <a:prstGeom prst="ellipse">
              <a:avLst/>
            </a:prstGeom>
            <a:ln>
              <a:solidFill>
                <a:schemeClr val="bg1"/>
              </a:solidFill>
            </a:ln>
          </p:spPr>
        </p:pic>
      </p:grpSp>
      <p:pic>
        <p:nvPicPr>
          <p:cNvPr id="15" name="Picture 14">
            <a:extLst>
              <a:ext uri="{FF2B5EF4-FFF2-40B4-BE49-F238E27FC236}">
                <a16:creationId xmlns:a16="http://schemas.microsoft.com/office/drawing/2014/main" id="{CC558A65-D9DF-7AF9-6798-AA06352E6B2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124788" y="2212107"/>
            <a:ext cx="155448" cy="155448"/>
          </a:xfrm>
          <a:prstGeom prst="ellipse">
            <a:avLst/>
          </a:prstGeom>
        </p:spPr>
      </p:pic>
      <p:pic>
        <p:nvPicPr>
          <p:cNvPr id="16" name="Picture 15">
            <a:extLst>
              <a:ext uri="{FF2B5EF4-FFF2-40B4-BE49-F238E27FC236}">
                <a16:creationId xmlns:a16="http://schemas.microsoft.com/office/drawing/2014/main" id="{C403BC9B-8F52-C851-863F-AE8339D68F69}"/>
              </a:ext>
            </a:extLst>
          </p:cNvPr>
          <p:cNvPicPr>
            <a:picLocks/>
          </p:cNvPicPr>
          <p:nvPr/>
        </p:nvPicPr>
        <p:blipFill>
          <a:blip r:embed="rId22">
            <a:extLst>
              <a:ext uri="{BEBA8EAE-BF5A-486C-A8C5-ECC9F3942E4B}">
                <a14:imgProps xmlns:a14="http://schemas.microsoft.com/office/drawing/2010/main">
                  <a14:imgLayer r:embed="rId23">
                    <a14:imgEffect>
                      <a14:backgroundRemoval t="4932" b="98193" l="1758" r="99463">
                        <a14:foregroundMark x1="41504" y1="10400" x2="60254" y2="10107"/>
                        <a14:foregroundMark x1="44385" y1="6201" x2="52734" y2="5078"/>
                        <a14:foregroundMark x1="24219" y1="88477" x2="27100" y2="89307"/>
                        <a14:foregroundMark x1="72070" y1="87061" x2="89355" y2="92383"/>
                        <a14:foregroundMark x1="70361" y1="88721" x2="4053" y2="92676"/>
                        <a14:foregroundMark x1="4053" y1="92676" x2="33447" y2="74219"/>
                        <a14:foregroundMark x1="10400" y1="95166" x2="76123" y2="92725"/>
                        <a14:foregroundMark x1="76123" y1="92725" x2="95410" y2="97412"/>
                        <a14:foregroundMark x1="4639" y1="98242" x2="1758" y2="96875"/>
                        <a14:foregroundMark x1="98584" y1="95996" x2="99463" y2="95996"/>
                        <a14:foregroundMark x1="64014" y1="82031" x2="68018" y2="87061"/>
                      </a14:backgroundRemoval>
                    </a14:imgEffect>
                  </a14:imgLayer>
                </a14:imgProps>
              </a:ext>
            </a:extLst>
          </a:blip>
          <a:srcRect l="-7397" t="-14214" r="-7159" b="-341"/>
          <a:stretch/>
        </p:blipFill>
        <p:spPr>
          <a:xfrm>
            <a:off x="5207078" y="2220789"/>
            <a:ext cx="512064" cy="512064"/>
          </a:xfrm>
          <a:prstGeom prst="ellipse">
            <a:avLst/>
          </a:prstGeom>
          <a:solidFill>
            <a:srgbClr val="EBEEEC"/>
          </a:solidFill>
        </p:spPr>
      </p:pic>
    </p:spTree>
    <p:extLst>
      <p:ext uri="{BB962C8B-B14F-4D97-AF65-F5344CB8AC3E}">
        <p14:creationId xmlns:p14="http://schemas.microsoft.com/office/powerpoint/2010/main" val="9255597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 name="Rectangle 271">
            <a:extLst>
              <a:ext uri="{FF2B5EF4-FFF2-40B4-BE49-F238E27FC236}">
                <a16:creationId xmlns:a16="http://schemas.microsoft.com/office/drawing/2014/main" id="{D3C0297B-7648-4FE6-AE74-A6AE08D59E52}"/>
              </a:ext>
            </a:extLst>
          </p:cNvPr>
          <p:cNvSpPr/>
          <p:nvPr/>
        </p:nvSpPr>
        <p:spPr>
          <a:xfrm>
            <a:off x="0" y="0"/>
            <a:ext cx="7772400" cy="10058400"/>
          </a:xfrm>
          <a:prstGeom prst="rect">
            <a:avLst/>
          </a:prstGeom>
          <a:gradFill flip="none" rotWithShape="1">
            <a:gsLst>
              <a:gs pos="0">
                <a:srgbClr val="1A6C40"/>
              </a:gs>
              <a:gs pos="100000">
                <a:srgbClr val="124A2C"/>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14" dirty="0">
              <a:latin typeface="FS Joey" panose="02000506040000020004" pitchFamily="50" charset="0"/>
            </a:endParaRPr>
          </a:p>
        </p:txBody>
      </p:sp>
      <p:sp>
        <p:nvSpPr>
          <p:cNvPr id="250" name="TextBox 249">
            <a:extLst>
              <a:ext uri="{FF2B5EF4-FFF2-40B4-BE49-F238E27FC236}">
                <a16:creationId xmlns:a16="http://schemas.microsoft.com/office/drawing/2014/main" id="{BAB9BE08-975D-4EBE-A6F0-431A04E8C8A1}"/>
              </a:ext>
            </a:extLst>
          </p:cNvPr>
          <p:cNvSpPr txBox="1"/>
          <p:nvPr/>
        </p:nvSpPr>
        <p:spPr>
          <a:xfrm>
            <a:off x="4841456" y="7788277"/>
            <a:ext cx="2173797" cy="1382153"/>
          </a:xfrm>
          <a:prstGeom prst="rect">
            <a:avLst/>
          </a:prstGeom>
          <a:noFill/>
        </p:spPr>
        <p:txBody>
          <a:bodyPr wrap="square" lIns="0" tIns="0" rIns="0" bIns="0" numCol="2" rtlCol="0">
            <a:noAutofit/>
          </a:bodyPr>
          <a:lstStyle/>
          <a:p>
            <a:r>
              <a:rPr lang="en-US" sz="990" dirty="0">
                <a:solidFill>
                  <a:schemeClr val="bg1"/>
                </a:solidFill>
                <a:latin typeface="FS Joey" panose="02000506040000020004" pitchFamily="50" charset="0"/>
              </a:rPr>
              <a:t>Argentina</a:t>
            </a:r>
          </a:p>
          <a:p>
            <a:r>
              <a:rPr lang="en-US" sz="990" dirty="0">
                <a:solidFill>
                  <a:schemeClr val="bg1"/>
                </a:solidFill>
                <a:latin typeface="FS Joey" panose="02000506040000020004" pitchFamily="50" charset="0"/>
              </a:rPr>
              <a:t>Benelux</a:t>
            </a:r>
          </a:p>
          <a:p>
            <a:r>
              <a:rPr lang="en-US" sz="990" dirty="0">
                <a:solidFill>
                  <a:schemeClr val="bg1"/>
                </a:solidFill>
                <a:latin typeface="FS Joey" panose="02000506040000020004" pitchFamily="50" charset="0"/>
              </a:rPr>
              <a:t>Brazil</a:t>
            </a:r>
          </a:p>
          <a:p>
            <a:r>
              <a:rPr lang="en-US" sz="990" dirty="0">
                <a:solidFill>
                  <a:schemeClr val="bg1"/>
                </a:solidFill>
                <a:latin typeface="FS Joey" panose="02000506040000020004" pitchFamily="50" charset="0"/>
              </a:rPr>
              <a:t>Chile</a:t>
            </a:r>
          </a:p>
          <a:p>
            <a:r>
              <a:rPr lang="en-US" sz="990" dirty="0">
                <a:solidFill>
                  <a:schemeClr val="bg1"/>
                </a:solidFill>
                <a:latin typeface="FS Joey" panose="02000506040000020004" pitchFamily="50" charset="0"/>
              </a:rPr>
              <a:t>China</a:t>
            </a:r>
          </a:p>
          <a:p>
            <a:r>
              <a:rPr lang="en-US" sz="990" dirty="0">
                <a:solidFill>
                  <a:schemeClr val="bg1"/>
                </a:solidFill>
                <a:latin typeface="FS Joey" panose="02000506040000020004" pitchFamily="50" charset="0"/>
              </a:rPr>
              <a:t>Colombia</a:t>
            </a:r>
          </a:p>
          <a:p>
            <a:r>
              <a:rPr lang="en-US" sz="990" dirty="0">
                <a:solidFill>
                  <a:schemeClr val="bg1"/>
                </a:solidFill>
                <a:latin typeface="FS Joey" panose="02000506040000020004" pitchFamily="50" charset="0"/>
              </a:rPr>
              <a:t>France</a:t>
            </a:r>
          </a:p>
          <a:p>
            <a:r>
              <a:rPr lang="en-US" sz="990" dirty="0">
                <a:solidFill>
                  <a:schemeClr val="bg1"/>
                </a:solidFill>
                <a:latin typeface="FS Joey" panose="02000506040000020004" pitchFamily="50" charset="0"/>
              </a:rPr>
              <a:t>Germany</a:t>
            </a:r>
          </a:p>
          <a:p>
            <a:r>
              <a:rPr lang="en-US" sz="990" dirty="0">
                <a:solidFill>
                  <a:schemeClr val="bg1"/>
                </a:solidFill>
                <a:latin typeface="FS Joey" panose="02000506040000020004" pitchFamily="50" charset="0"/>
              </a:rPr>
              <a:t>Greece</a:t>
            </a:r>
          </a:p>
          <a:p>
            <a:r>
              <a:rPr lang="en-US" sz="990" dirty="0">
                <a:solidFill>
                  <a:schemeClr val="bg1"/>
                </a:solidFill>
                <a:latin typeface="FS Joey" panose="02000506040000020004" pitchFamily="50" charset="0"/>
              </a:rPr>
              <a:t>Ireland</a:t>
            </a:r>
          </a:p>
          <a:p>
            <a:r>
              <a:rPr lang="en-US" sz="990" dirty="0">
                <a:solidFill>
                  <a:schemeClr val="bg1"/>
                </a:solidFill>
                <a:latin typeface="FS Joey" panose="02000506040000020004" pitchFamily="50" charset="0"/>
              </a:rPr>
              <a:t>Italy</a:t>
            </a:r>
          </a:p>
          <a:p>
            <a:r>
              <a:rPr lang="en-US" sz="990" dirty="0">
                <a:solidFill>
                  <a:schemeClr val="bg1"/>
                </a:solidFill>
                <a:latin typeface="FS Joey" panose="02000506040000020004" pitchFamily="50" charset="0"/>
              </a:rPr>
              <a:t>Nordics</a:t>
            </a:r>
          </a:p>
          <a:p>
            <a:r>
              <a:rPr lang="en-US" sz="990" dirty="0">
                <a:solidFill>
                  <a:schemeClr val="bg1"/>
                </a:solidFill>
                <a:latin typeface="FS Joey" panose="02000506040000020004" pitchFamily="50" charset="0"/>
              </a:rPr>
              <a:t>Portugal</a:t>
            </a:r>
          </a:p>
          <a:p>
            <a:r>
              <a:rPr lang="en-US" sz="990" dirty="0">
                <a:solidFill>
                  <a:schemeClr val="bg1"/>
                </a:solidFill>
                <a:latin typeface="FS Joey" panose="02000506040000020004" pitchFamily="50" charset="0"/>
              </a:rPr>
              <a:t>Spain</a:t>
            </a:r>
          </a:p>
          <a:p>
            <a:r>
              <a:rPr lang="en-US" sz="990" dirty="0">
                <a:solidFill>
                  <a:schemeClr val="bg1"/>
                </a:solidFill>
                <a:latin typeface="FS Joey" panose="02000506040000020004" pitchFamily="50" charset="0"/>
              </a:rPr>
              <a:t>Switzerland</a:t>
            </a:r>
          </a:p>
          <a:p>
            <a:r>
              <a:rPr lang="en-US" sz="990" dirty="0">
                <a:solidFill>
                  <a:schemeClr val="bg1"/>
                </a:solidFill>
                <a:latin typeface="FS Joey" panose="02000506040000020004" pitchFamily="50" charset="0"/>
              </a:rPr>
              <a:t>UAE</a:t>
            </a:r>
          </a:p>
          <a:p>
            <a:r>
              <a:rPr lang="en-US" sz="990" dirty="0">
                <a:solidFill>
                  <a:schemeClr val="bg1"/>
                </a:solidFill>
                <a:latin typeface="FS Joey" panose="02000506040000020004" pitchFamily="50" charset="0"/>
              </a:rPr>
              <a:t>United Kingdom</a:t>
            </a:r>
          </a:p>
          <a:p>
            <a:r>
              <a:rPr lang="en-US" sz="990" dirty="0">
                <a:solidFill>
                  <a:schemeClr val="bg1"/>
                </a:solidFill>
                <a:latin typeface="FS Joey" panose="02000506040000020004" pitchFamily="50" charset="0"/>
              </a:rPr>
              <a:t>United States</a:t>
            </a:r>
          </a:p>
        </p:txBody>
      </p:sp>
      <p:sp>
        <p:nvSpPr>
          <p:cNvPr id="256" name="TextBox 255">
            <a:extLst>
              <a:ext uri="{FF2B5EF4-FFF2-40B4-BE49-F238E27FC236}">
                <a16:creationId xmlns:a16="http://schemas.microsoft.com/office/drawing/2014/main" id="{0932E0F3-19A0-472E-A5CA-4DD349341FC1}"/>
              </a:ext>
            </a:extLst>
          </p:cNvPr>
          <p:cNvSpPr txBox="1"/>
          <p:nvPr/>
        </p:nvSpPr>
        <p:spPr>
          <a:xfrm>
            <a:off x="1962716" y="7779556"/>
            <a:ext cx="1271503" cy="587533"/>
          </a:xfrm>
          <a:prstGeom prst="rect">
            <a:avLst/>
          </a:prstGeom>
        </p:spPr>
        <p:txBody>
          <a:bodyPr wrap="none" rtlCol="0">
            <a:spAutoFit/>
          </a:bodyPr>
          <a:lstStyle/>
          <a:p>
            <a:pPr algn="ctr"/>
            <a:r>
              <a:rPr lang="en-US" sz="2228" b="1" dirty="0">
                <a:solidFill>
                  <a:schemeClr val="bg1"/>
                </a:solidFill>
                <a:latin typeface="FS Joey Light" panose="02000506030000020004" pitchFamily="50" charset="0"/>
              </a:rPr>
              <a:t>500+</a:t>
            </a:r>
          </a:p>
          <a:p>
            <a:pPr algn="ctr"/>
            <a:r>
              <a:rPr lang="en-US" sz="990" dirty="0">
                <a:solidFill>
                  <a:schemeClr val="bg1"/>
                </a:solidFill>
                <a:latin typeface="FS Joey Light" panose="02000506030000020004" pitchFamily="50" charset="0"/>
              </a:rPr>
              <a:t>Financial Professionals</a:t>
            </a:r>
            <a:endParaRPr lang="en-US" sz="990" baseline="30000" dirty="0">
              <a:solidFill>
                <a:schemeClr val="bg1"/>
              </a:solidFill>
              <a:latin typeface="FS Joey Light" panose="02000506030000020004" pitchFamily="50" charset="0"/>
            </a:endParaRPr>
          </a:p>
        </p:txBody>
      </p:sp>
      <p:sp>
        <p:nvSpPr>
          <p:cNvPr id="257" name="TextBox 256">
            <a:extLst>
              <a:ext uri="{FF2B5EF4-FFF2-40B4-BE49-F238E27FC236}">
                <a16:creationId xmlns:a16="http://schemas.microsoft.com/office/drawing/2014/main" id="{DF8343E6-017F-4E54-9C82-B26A3BA5F29B}"/>
              </a:ext>
            </a:extLst>
          </p:cNvPr>
          <p:cNvSpPr txBox="1"/>
          <p:nvPr/>
        </p:nvSpPr>
        <p:spPr>
          <a:xfrm>
            <a:off x="3519234" y="7779556"/>
            <a:ext cx="800219" cy="587533"/>
          </a:xfrm>
          <a:prstGeom prst="rect">
            <a:avLst/>
          </a:prstGeom>
        </p:spPr>
        <p:txBody>
          <a:bodyPr wrap="none" rtlCol="0">
            <a:spAutoFit/>
          </a:bodyPr>
          <a:lstStyle/>
          <a:p>
            <a:pPr algn="ctr"/>
            <a:r>
              <a:rPr lang="en-US" sz="2228" b="1" dirty="0">
                <a:solidFill>
                  <a:schemeClr val="bg1"/>
                </a:solidFill>
                <a:latin typeface="FS Joey Light" panose="02000506030000020004" pitchFamily="50" charset="0"/>
              </a:rPr>
              <a:t>120+</a:t>
            </a:r>
          </a:p>
          <a:p>
            <a:pPr algn="ctr"/>
            <a:r>
              <a:rPr lang="en-US" sz="990" dirty="0">
                <a:solidFill>
                  <a:schemeClr val="bg1"/>
                </a:solidFill>
                <a:latin typeface="FS Joey Light" panose="02000506030000020004" pitchFamily="50" charset="0"/>
              </a:rPr>
              <a:t>Partners</a:t>
            </a:r>
            <a:endParaRPr lang="en-US" sz="990" baseline="30000" dirty="0">
              <a:solidFill>
                <a:schemeClr val="bg1"/>
              </a:solidFill>
              <a:latin typeface="FS Joey Light" panose="02000506030000020004" pitchFamily="50" charset="0"/>
            </a:endParaRPr>
          </a:p>
        </p:txBody>
      </p:sp>
      <p:sp>
        <p:nvSpPr>
          <p:cNvPr id="258" name="TextBox 257">
            <a:extLst>
              <a:ext uri="{FF2B5EF4-FFF2-40B4-BE49-F238E27FC236}">
                <a16:creationId xmlns:a16="http://schemas.microsoft.com/office/drawing/2014/main" id="{20174928-ED15-4586-842C-80EA340F84EE}"/>
              </a:ext>
            </a:extLst>
          </p:cNvPr>
          <p:cNvSpPr txBox="1"/>
          <p:nvPr/>
        </p:nvSpPr>
        <p:spPr>
          <a:xfrm>
            <a:off x="726154" y="7773180"/>
            <a:ext cx="1048685" cy="587533"/>
          </a:xfrm>
          <a:prstGeom prst="rect">
            <a:avLst/>
          </a:prstGeom>
        </p:spPr>
        <p:txBody>
          <a:bodyPr wrap="none" rtlCol="0">
            <a:spAutoFit/>
          </a:bodyPr>
          <a:lstStyle/>
          <a:p>
            <a:pPr algn="ctr"/>
            <a:r>
              <a:rPr lang="en-US" sz="2228" b="1" dirty="0">
                <a:solidFill>
                  <a:schemeClr val="bg1"/>
                </a:solidFill>
                <a:latin typeface="FS Joey Light" panose="02000506030000020004" pitchFamily="50" charset="0"/>
              </a:rPr>
              <a:t>20</a:t>
            </a:r>
          </a:p>
          <a:p>
            <a:pPr algn="ctr"/>
            <a:r>
              <a:rPr lang="en-US" sz="990" dirty="0">
                <a:solidFill>
                  <a:schemeClr val="bg1"/>
                </a:solidFill>
                <a:latin typeface="FS Joey Light" panose="02000506030000020004" pitchFamily="50" charset="0"/>
              </a:rPr>
              <a:t>Offices Worldwide</a:t>
            </a:r>
          </a:p>
        </p:txBody>
      </p:sp>
      <p:sp>
        <p:nvSpPr>
          <p:cNvPr id="267" name="TextBox 266">
            <a:extLst>
              <a:ext uri="{FF2B5EF4-FFF2-40B4-BE49-F238E27FC236}">
                <a16:creationId xmlns:a16="http://schemas.microsoft.com/office/drawing/2014/main" id="{5908D44C-539F-4F52-8ACA-A9F1372AE646}"/>
              </a:ext>
            </a:extLst>
          </p:cNvPr>
          <p:cNvSpPr txBox="1"/>
          <p:nvPr/>
        </p:nvSpPr>
        <p:spPr>
          <a:xfrm>
            <a:off x="1924246" y="8660584"/>
            <a:ext cx="1348446" cy="587533"/>
          </a:xfrm>
          <a:prstGeom prst="rect">
            <a:avLst/>
          </a:prstGeom>
        </p:spPr>
        <p:txBody>
          <a:bodyPr wrap="none" rtlCol="0">
            <a:spAutoFit/>
          </a:bodyPr>
          <a:lstStyle/>
          <a:p>
            <a:pPr algn="ctr"/>
            <a:r>
              <a:rPr lang="en-US" sz="2228" b="1" dirty="0">
                <a:solidFill>
                  <a:schemeClr val="bg1"/>
                </a:solidFill>
                <a:latin typeface="FS Joey Light" panose="02000506030000020004" pitchFamily="50" charset="0"/>
              </a:rPr>
              <a:t>2,300+</a:t>
            </a:r>
          </a:p>
          <a:p>
            <a:pPr algn="ctr"/>
            <a:r>
              <a:rPr lang="en-US" sz="990" dirty="0">
                <a:solidFill>
                  <a:schemeClr val="bg1"/>
                </a:solidFill>
                <a:latin typeface="FS Joey Light" panose="02000506030000020004" pitchFamily="50" charset="0"/>
              </a:rPr>
              <a:t>Completed Transactions</a:t>
            </a:r>
            <a:endParaRPr lang="en-US" sz="990" baseline="30000" dirty="0">
              <a:solidFill>
                <a:schemeClr val="bg1"/>
              </a:solidFill>
              <a:latin typeface="FS Joey Light" panose="02000506030000020004" pitchFamily="50" charset="0"/>
            </a:endParaRPr>
          </a:p>
        </p:txBody>
      </p:sp>
      <p:sp>
        <p:nvSpPr>
          <p:cNvPr id="268" name="TextBox 267">
            <a:extLst>
              <a:ext uri="{FF2B5EF4-FFF2-40B4-BE49-F238E27FC236}">
                <a16:creationId xmlns:a16="http://schemas.microsoft.com/office/drawing/2014/main" id="{20EB783E-BF9F-407B-B869-2F517F457BCC}"/>
              </a:ext>
            </a:extLst>
          </p:cNvPr>
          <p:cNvSpPr txBox="1"/>
          <p:nvPr/>
        </p:nvSpPr>
        <p:spPr>
          <a:xfrm>
            <a:off x="3412634" y="8660584"/>
            <a:ext cx="1013419" cy="587533"/>
          </a:xfrm>
          <a:prstGeom prst="rect">
            <a:avLst/>
          </a:prstGeom>
        </p:spPr>
        <p:txBody>
          <a:bodyPr wrap="none" rtlCol="0">
            <a:spAutoFit/>
          </a:bodyPr>
          <a:lstStyle/>
          <a:p>
            <a:pPr algn="ctr"/>
            <a:r>
              <a:rPr lang="en-US" sz="2228" b="1" dirty="0">
                <a:solidFill>
                  <a:schemeClr val="bg1"/>
                </a:solidFill>
                <a:latin typeface="FS Joey Light" panose="02000506030000020004" pitchFamily="50" charset="0"/>
              </a:rPr>
              <a:t>1,590+</a:t>
            </a:r>
          </a:p>
          <a:p>
            <a:pPr algn="ctr"/>
            <a:r>
              <a:rPr lang="en-US" sz="990" dirty="0">
                <a:solidFill>
                  <a:schemeClr val="bg1"/>
                </a:solidFill>
                <a:latin typeface="FS Joey Light" panose="02000506030000020004" pitchFamily="50" charset="0"/>
              </a:rPr>
              <a:t>Clients Advised</a:t>
            </a:r>
            <a:endParaRPr lang="en-US" sz="990" baseline="30000" dirty="0">
              <a:solidFill>
                <a:schemeClr val="bg1"/>
              </a:solidFill>
              <a:latin typeface="FS Joey Light" panose="02000506030000020004" pitchFamily="50" charset="0"/>
            </a:endParaRPr>
          </a:p>
        </p:txBody>
      </p:sp>
      <p:sp>
        <p:nvSpPr>
          <p:cNvPr id="269" name="TextBox 268">
            <a:extLst>
              <a:ext uri="{FF2B5EF4-FFF2-40B4-BE49-F238E27FC236}">
                <a16:creationId xmlns:a16="http://schemas.microsoft.com/office/drawing/2014/main" id="{030AA42A-564D-4564-A836-7E0F8228A2AC}"/>
              </a:ext>
            </a:extLst>
          </p:cNvPr>
          <p:cNvSpPr txBox="1"/>
          <p:nvPr/>
        </p:nvSpPr>
        <p:spPr>
          <a:xfrm>
            <a:off x="698104" y="8660584"/>
            <a:ext cx="1104791" cy="587533"/>
          </a:xfrm>
          <a:prstGeom prst="rect">
            <a:avLst/>
          </a:prstGeom>
        </p:spPr>
        <p:txBody>
          <a:bodyPr wrap="none" rtlCol="0">
            <a:spAutoFit/>
          </a:bodyPr>
          <a:lstStyle/>
          <a:p>
            <a:pPr algn="ctr"/>
            <a:r>
              <a:rPr lang="en-US" sz="2228" b="1" dirty="0">
                <a:solidFill>
                  <a:schemeClr val="bg1"/>
                </a:solidFill>
                <a:latin typeface="FS Joey Light" panose="02000506030000020004" pitchFamily="50" charset="0"/>
              </a:rPr>
              <a:t>$605B+</a:t>
            </a:r>
          </a:p>
          <a:p>
            <a:pPr algn="ctr"/>
            <a:r>
              <a:rPr lang="en-US" sz="990" dirty="0">
                <a:solidFill>
                  <a:schemeClr val="bg1"/>
                </a:solidFill>
                <a:latin typeface="FS Joey Light" panose="02000506030000020004" pitchFamily="50" charset="0"/>
              </a:rPr>
              <a:t>Deal Volume</a:t>
            </a:r>
            <a:endParaRPr lang="en-US" sz="990" baseline="30000" dirty="0">
              <a:solidFill>
                <a:schemeClr val="bg1"/>
              </a:solidFill>
              <a:latin typeface="FS Joey Light" panose="02000506030000020004" pitchFamily="50" charset="0"/>
            </a:endParaRPr>
          </a:p>
        </p:txBody>
      </p:sp>
      <p:cxnSp>
        <p:nvCxnSpPr>
          <p:cNvPr id="721" name="Straight Connector 720">
            <a:extLst>
              <a:ext uri="{FF2B5EF4-FFF2-40B4-BE49-F238E27FC236}">
                <a16:creationId xmlns:a16="http://schemas.microsoft.com/office/drawing/2014/main" id="{13AE854F-B63F-68C8-6A7F-35E85E4984B8}"/>
              </a:ext>
            </a:extLst>
          </p:cNvPr>
          <p:cNvCxnSpPr>
            <a:cxnSpLocks/>
          </p:cNvCxnSpPr>
          <p:nvPr/>
        </p:nvCxnSpPr>
        <p:spPr>
          <a:xfrm>
            <a:off x="733641" y="7528799"/>
            <a:ext cx="630511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2" name="Straight Connector 721">
            <a:extLst>
              <a:ext uri="{FF2B5EF4-FFF2-40B4-BE49-F238E27FC236}">
                <a16:creationId xmlns:a16="http://schemas.microsoft.com/office/drawing/2014/main" id="{3CC5957C-344B-5DB4-D95E-0A9A16F41115}"/>
              </a:ext>
            </a:extLst>
          </p:cNvPr>
          <p:cNvCxnSpPr>
            <a:cxnSpLocks/>
          </p:cNvCxnSpPr>
          <p:nvPr/>
        </p:nvCxnSpPr>
        <p:spPr>
          <a:xfrm>
            <a:off x="733641" y="9457231"/>
            <a:ext cx="630511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2C3C26B-8197-6BA1-EEBD-F38DEAAC7A6C}"/>
              </a:ext>
            </a:extLst>
          </p:cNvPr>
          <p:cNvSpPr txBox="1"/>
          <p:nvPr/>
        </p:nvSpPr>
        <p:spPr>
          <a:xfrm>
            <a:off x="733641" y="7003114"/>
            <a:ext cx="6281612" cy="435247"/>
          </a:xfrm>
          <a:prstGeom prst="rect">
            <a:avLst/>
          </a:prstGeom>
          <a:noFill/>
        </p:spPr>
        <p:txBody>
          <a:bodyPr wrap="square" rtlCol="0">
            <a:spAutoFit/>
          </a:bodyPr>
          <a:lstStyle/>
          <a:p>
            <a:r>
              <a:rPr lang="en-US" sz="1114" dirty="0" err="1">
                <a:solidFill>
                  <a:schemeClr val="bg1"/>
                </a:solidFill>
                <a:ea typeface="Calibri Light" panose="020F0302020204030204" pitchFamily="34" charset="0"/>
                <a:cs typeface="Calibri Light" panose="020F0302020204030204" pitchFamily="34" charset="0"/>
              </a:rPr>
              <a:t>Alantra</a:t>
            </a:r>
            <a:r>
              <a:rPr lang="en-US" sz="1114" dirty="0">
                <a:solidFill>
                  <a:schemeClr val="bg1"/>
                </a:solidFill>
                <a:ea typeface="Calibri Light" panose="020F0302020204030204" pitchFamily="34" charset="0"/>
                <a:cs typeface="Calibri Light" panose="020F0302020204030204" pitchFamily="34" charset="0"/>
              </a:rPr>
              <a:t> is a global investment banking, credit portfolio advisory, and alternative asset management firm focusing on the mid-market with offices across the US, Europe, Latin America, and Asia.</a:t>
            </a:r>
          </a:p>
        </p:txBody>
      </p:sp>
      <p:grpSp>
        <p:nvGrpSpPr>
          <p:cNvPr id="11" name="Group 10">
            <a:extLst>
              <a:ext uri="{FF2B5EF4-FFF2-40B4-BE49-F238E27FC236}">
                <a16:creationId xmlns:a16="http://schemas.microsoft.com/office/drawing/2014/main" id="{9BE2DE98-6BB3-F700-A826-216E2E472E68}"/>
              </a:ext>
            </a:extLst>
          </p:cNvPr>
          <p:cNvGrpSpPr/>
          <p:nvPr/>
        </p:nvGrpSpPr>
        <p:grpSpPr>
          <a:xfrm>
            <a:off x="456131" y="652263"/>
            <a:ext cx="1810494" cy="521050"/>
            <a:chOff x="8511889" y="1010314"/>
            <a:chExt cx="2926051" cy="842102"/>
          </a:xfrm>
        </p:grpSpPr>
        <p:pic>
          <p:nvPicPr>
            <p:cNvPr id="719" name="Picture 4">
              <a:extLst>
                <a:ext uri="{FF2B5EF4-FFF2-40B4-BE49-F238E27FC236}">
                  <a16:creationId xmlns:a16="http://schemas.microsoft.com/office/drawing/2014/main" id="{E38F2AAB-9F68-3711-626D-D07597CF5380}"/>
                </a:ext>
              </a:extLst>
            </p:cNvPr>
            <p:cNvPicPr>
              <a:picLocks noChangeAspect="1" noChangeArrowheads="1"/>
            </p:cNvPicPr>
            <p:nvPr/>
          </p:nvPicPr>
          <p:blipFill>
            <a:blip r:embed="rId3">
              <a:biLevel thresh="25000"/>
              <a:alphaModFix/>
              <a:extLst>
                <a:ext uri="{28A0092B-C50C-407E-A947-70E740481C1C}">
                  <a14:useLocalDpi xmlns:a14="http://schemas.microsoft.com/office/drawing/2010/main"/>
                </a:ext>
              </a:extLst>
            </a:blip>
            <a:srcRect/>
            <a:stretch>
              <a:fillRect/>
            </a:stretch>
          </p:blipFill>
          <p:spPr bwMode="auto">
            <a:xfrm>
              <a:off x="8896418" y="1010314"/>
              <a:ext cx="2156992" cy="36102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267D366-DDA5-13B3-E717-3E5E72ED2946}"/>
                </a:ext>
              </a:extLst>
            </p:cNvPr>
            <p:cNvSpPr txBox="1"/>
            <p:nvPr/>
          </p:nvSpPr>
          <p:spPr>
            <a:xfrm>
              <a:off x="8511889" y="1487850"/>
              <a:ext cx="2926051" cy="364566"/>
            </a:xfrm>
            <a:prstGeom prst="rect">
              <a:avLst/>
            </a:prstGeom>
            <a:noFill/>
          </p:spPr>
          <p:txBody>
            <a:bodyPr wrap="square" rtlCol="0">
              <a:spAutoFit/>
            </a:bodyPr>
            <a:lstStyle/>
            <a:p>
              <a:pPr algn="ctr"/>
              <a:r>
                <a:rPr lang="en-US" sz="866" spc="74" dirty="0">
                  <a:solidFill>
                    <a:schemeClr val="bg1"/>
                  </a:solidFill>
                  <a:ea typeface="Calibri" panose="020F0502020204030204" pitchFamily="34" charset="0"/>
                  <a:cs typeface="Calibri" panose="020F0502020204030204" pitchFamily="34" charset="0"/>
                </a:rPr>
                <a:t>POSSIBILITY IS IN THE ASCENT</a:t>
              </a:r>
            </a:p>
          </p:txBody>
        </p:sp>
        <p:cxnSp>
          <p:nvCxnSpPr>
            <p:cNvPr id="10" name="Straight Connector 9">
              <a:extLst>
                <a:ext uri="{FF2B5EF4-FFF2-40B4-BE49-F238E27FC236}">
                  <a16:creationId xmlns:a16="http://schemas.microsoft.com/office/drawing/2014/main" id="{BE2F4808-7BA2-B8F4-68D1-8CC7C9614B3C}"/>
                </a:ext>
              </a:extLst>
            </p:cNvPr>
            <p:cNvCxnSpPr>
              <a:cxnSpLocks/>
            </p:cNvCxnSpPr>
            <p:nvPr/>
          </p:nvCxnSpPr>
          <p:spPr>
            <a:xfrm>
              <a:off x="8703009" y="1848147"/>
              <a:ext cx="2543810"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2" name="Picture 1">
            <a:extLst>
              <a:ext uri="{FF2B5EF4-FFF2-40B4-BE49-F238E27FC236}">
                <a16:creationId xmlns:a16="http://schemas.microsoft.com/office/drawing/2014/main" id="{E13BAE99-2622-3C1C-258C-D2EA0EA6DF06}"/>
              </a:ext>
            </a:extLst>
          </p:cNvPr>
          <p:cNvPicPr>
            <a:picLocks noChangeAspect="1"/>
          </p:cNvPicPr>
          <p:nvPr/>
        </p:nvPicPr>
        <p:blipFill>
          <a:blip r:embed="rId4"/>
          <a:stretch>
            <a:fillRect/>
          </a:stretch>
        </p:blipFill>
        <p:spPr>
          <a:xfrm>
            <a:off x="169890" y="2176648"/>
            <a:ext cx="7432621" cy="3958286"/>
          </a:xfrm>
          <a:prstGeom prst="rect">
            <a:avLst/>
          </a:prstGeom>
        </p:spPr>
      </p:pic>
    </p:spTree>
    <p:extLst>
      <p:ext uri="{BB962C8B-B14F-4D97-AF65-F5344CB8AC3E}">
        <p14:creationId xmlns:p14="http://schemas.microsoft.com/office/powerpoint/2010/main" val="5508027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in a black shirt&#10;&#10;Description automatically generated">
            <a:extLst>
              <a:ext uri="{FF2B5EF4-FFF2-40B4-BE49-F238E27FC236}">
                <a16:creationId xmlns:a16="http://schemas.microsoft.com/office/drawing/2014/main" id="{4D8EFF7A-A4BC-FF71-599A-20FA3767AE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231" y="1468853"/>
            <a:ext cx="420624" cy="420624"/>
          </a:xfrm>
          <a:prstGeom prst="ellipse">
            <a:avLst/>
          </a:prstGeom>
          <a:solidFill>
            <a:srgbClr val="F7F8F4"/>
          </a:solidFill>
        </p:spPr>
      </p:pic>
      <p:sp>
        <p:nvSpPr>
          <p:cNvPr id="31" name="TextBox 30">
            <a:extLst>
              <a:ext uri="{FF2B5EF4-FFF2-40B4-BE49-F238E27FC236}">
                <a16:creationId xmlns:a16="http://schemas.microsoft.com/office/drawing/2014/main" id="{D9F59FBB-365C-45D8-8651-2F8B2EABDCF1}"/>
              </a:ext>
            </a:extLst>
          </p:cNvPr>
          <p:cNvSpPr txBox="1"/>
          <p:nvPr/>
        </p:nvSpPr>
        <p:spPr>
          <a:xfrm flipH="1">
            <a:off x="406908" y="725540"/>
            <a:ext cx="6958584" cy="384721"/>
          </a:xfrm>
          <a:prstGeom prst="rect">
            <a:avLst/>
          </a:prstGeom>
          <a:noFill/>
        </p:spPr>
        <p:txBody>
          <a:bodyPr wrap="square" lIns="0" tIns="0" rIns="0" bIns="0" rtlCol="0">
            <a:spAutoFit/>
          </a:bodyPr>
          <a:lstStyle/>
          <a:p>
            <a:r>
              <a:rPr lang="en-US" sz="2500" dirty="0">
                <a:solidFill>
                  <a:srgbClr val="A9C47F"/>
                </a:solidFill>
                <a:latin typeface="FS Joey" panose="02000506040000020004" pitchFamily="50" charset="0"/>
              </a:rPr>
              <a:t>Episode Transcript</a:t>
            </a:r>
          </a:p>
        </p:txBody>
      </p:sp>
      <p:graphicFrame>
        <p:nvGraphicFramePr>
          <p:cNvPr id="2" name="Table 2">
            <a:extLst>
              <a:ext uri="{FF2B5EF4-FFF2-40B4-BE49-F238E27FC236}">
                <a16:creationId xmlns:a16="http://schemas.microsoft.com/office/drawing/2014/main" id="{F3B9234B-46B5-42DF-BF0B-6CB49C3D86D0}"/>
              </a:ext>
            </a:extLst>
          </p:cNvPr>
          <p:cNvGraphicFramePr>
            <a:graphicFrameLocks noGrp="1"/>
          </p:cNvGraphicFramePr>
          <p:nvPr>
            <p:extLst>
              <p:ext uri="{D42A27DB-BD31-4B8C-83A1-F6EECF244321}">
                <p14:modId xmlns:p14="http://schemas.microsoft.com/office/powerpoint/2010/main" val="1460809750"/>
              </p:ext>
            </p:extLst>
          </p:nvPr>
        </p:nvGraphicFramePr>
        <p:xfrm>
          <a:off x="406908" y="318008"/>
          <a:ext cx="6958584" cy="201168"/>
        </p:xfrm>
        <a:graphic>
          <a:graphicData uri="http://schemas.openxmlformats.org/drawingml/2006/table">
            <a:tbl>
              <a:tblPr firstRow="1" bandRow="1">
                <a:tableStyleId>{2D5ABB26-0587-4C30-8999-92F81FD0307C}</a:tableStyleId>
              </a:tblPr>
              <a:tblGrid>
                <a:gridCol w="4327652">
                  <a:extLst>
                    <a:ext uri="{9D8B030D-6E8A-4147-A177-3AD203B41FA5}">
                      <a16:colId xmlns:a16="http://schemas.microsoft.com/office/drawing/2014/main" val="1800358546"/>
                    </a:ext>
                  </a:extLst>
                </a:gridCol>
                <a:gridCol w="1564640">
                  <a:extLst>
                    <a:ext uri="{9D8B030D-6E8A-4147-A177-3AD203B41FA5}">
                      <a16:colId xmlns:a16="http://schemas.microsoft.com/office/drawing/2014/main" val="2602549205"/>
                    </a:ext>
                  </a:extLst>
                </a:gridCol>
                <a:gridCol w="1066292">
                  <a:extLst>
                    <a:ext uri="{9D8B030D-6E8A-4147-A177-3AD203B41FA5}">
                      <a16:colId xmlns:a16="http://schemas.microsoft.com/office/drawing/2014/main" val="52187482"/>
                    </a:ext>
                  </a:extLst>
                </a:gridCol>
              </a:tblGrid>
              <a:tr h="17399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latin typeface="+mn-lt"/>
                        </a:rPr>
                        <a:t>Reinserting Capitalism into Healthcare with Elan Adler, CEO of </a:t>
                      </a:r>
                      <a:r>
                        <a:rPr lang="en-US" sz="900" dirty="0" err="1">
                          <a:latin typeface="+mn-lt"/>
                        </a:rPr>
                        <a:t>OneImaging</a:t>
                      </a:r>
                      <a:endParaRPr lang="en-US" sz="900" dirty="0">
                        <a:latin typeface="+mn-lt"/>
                      </a:endParaRPr>
                    </a:p>
                  </a:txBody>
                  <a:tcPr marL="0" marR="0" marT="0" marB="64008"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latin typeface="+mn-lt"/>
                        </a:rPr>
                        <a:t>Podcast Episode Release</a:t>
                      </a:r>
                    </a:p>
                  </a:txBody>
                  <a:tcPr marR="0" marT="0" marB="64008" anchor="b">
                    <a:lnL w="9525" cap="flat" cmpd="sng" algn="ctr">
                      <a:solidFill>
                        <a:schemeClr val="tx1"/>
                      </a:solidFill>
                      <a:prstDash val="solid"/>
                      <a:round/>
                      <a:headEnd type="none" w="med" len="med"/>
                      <a:tailEnd type="none" w="med" len="med"/>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77240" rtl="0" eaLnBrk="1" fontAlgn="auto" latinLnBrk="0" hangingPunct="1">
                        <a:lnSpc>
                          <a:spcPct val="100000"/>
                        </a:lnSpc>
                        <a:spcBef>
                          <a:spcPts val="0"/>
                        </a:spcBef>
                        <a:spcAft>
                          <a:spcPts val="0"/>
                        </a:spcAft>
                        <a:buClrTx/>
                        <a:buSzTx/>
                        <a:buFontTx/>
                        <a:buNone/>
                        <a:tabLst/>
                        <a:defRPr/>
                      </a:pPr>
                      <a:r>
                        <a:rPr lang="en-US" sz="900" dirty="0"/>
                        <a:t>2</a:t>
                      </a:r>
                    </a:p>
                  </a:txBody>
                  <a:tcPr marL="0" marR="0" marT="0" marB="64008" anchor="b">
                    <a:lnL>
                      <a:noFill/>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6628539"/>
                  </a:ext>
                </a:extLst>
              </a:tr>
            </a:tbl>
          </a:graphicData>
        </a:graphic>
      </p:graphicFrame>
      <p:sp>
        <p:nvSpPr>
          <p:cNvPr id="6" name="TextBox 5">
            <a:extLst>
              <a:ext uri="{FF2B5EF4-FFF2-40B4-BE49-F238E27FC236}">
                <a16:creationId xmlns:a16="http://schemas.microsoft.com/office/drawing/2014/main" id="{B8EDD2A0-2E3C-27DA-0CE2-413B27C0F76B}"/>
              </a:ext>
            </a:extLst>
          </p:cNvPr>
          <p:cNvSpPr txBox="1"/>
          <p:nvPr/>
        </p:nvSpPr>
        <p:spPr>
          <a:xfrm>
            <a:off x="864108" y="1391920"/>
            <a:ext cx="6501384" cy="7848302"/>
          </a:xfrm>
          <a:prstGeom prst="rect">
            <a:avLst/>
          </a:prstGeom>
          <a:noFill/>
        </p:spPr>
        <p:txBody>
          <a:bodyPr wrap="square" rtlCol="0">
            <a:spAutoFit/>
          </a:bodyPr>
          <a:lstStyle/>
          <a:p>
            <a:pPr marL="0" marR="0">
              <a:spcBef>
                <a:spcPts val="0"/>
              </a:spcBef>
              <a:spcAft>
                <a:spcPts val="0"/>
              </a:spcAft>
            </a:pPr>
            <a:r>
              <a:rPr lang="en-US" sz="1200" b="1" dirty="0">
                <a:solidFill>
                  <a:schemeClr val="accent1"/>
                </a:solidFill>
                <a:latin typeface="+mj-lt"/>
              </a:rPr>
              <a:t>Frederic Laurier </a:t>
            </a:r>
            <a:r>
              <a:rPr lang="en-US" sz="1200" dirty="0"/>
              <a:t>(00:06):</a:t>
            </a:r>
          </a:p>
          <a:p>
            <a:pPr marR="0">
              <a:spcBef>
                <a:spcPts val="0"/>
              </a:spcBef>
              <a:spcAft>
                <a:spcPts val="0"/>
              </a:spcAft>
            </a:pPr>
            <a:r>
              <a:rPr lang="en-US" sz="1200" dirty="0"/>
              <a:t>Welcome to another episode of Crossroads by Alantra, where we explore the cutting edge of healthcare technology innovation. In this session, we have the privilege of hosting Elan Adler, the founder and CEO of </a:t>
            </a:r>
            <a:r>
              <a:rPr lang="en-US" sz="1200" dirty="0" err="1"/>
              <a:t>OneImaging</a:t>
            </a:r>
            <a:r>
              <a:rPr lang="en-US" sz="1200" dirty="0"/>
              <a:t>. </a:t>
            </a:r>
            <a:r>
              <a:rPr lang="en-US" sz="1200" dirty="0" err="1"/>
              <a:t>OneImaging</a:t>
            </a:r>
            <a:r>
              <a:rPr lang="en-US" sz="1200" dirty="0"/>
              <a:t> operates as a radiology marketplace, streamlining payment rails and operational processes for nearly 5,000 providers, cutting costs by an average of 68% and cancellations from 25% to under 1%. Elan shares his lifelong involvement in radiology and inspiration behind founding </a:t>
            </a:r>
            <a:r>
              <a:rPr lang="en-US" sz="1200" dirty="0" err="1"/>
              <a:t>OneImaging</a:t>
            </a:r>
            <a:r>
              <a:rPr lang="en-US" sz="1200" dirty="0"/>
              <a:t>, driven by personal experiences, highlighting inefficiencies, and lack of transparencies in medical imaging access and costs. We conclude this session with Elan discussing the untapped potential of imaging data for preventive care to detect early indicators of conditions like osteoporosis and promoting longitudinal health insights. We hope you find this interview as enlightening and insightful as we did.</a:t>
            </a:r>
          </a:p>
          <a:p>
            <a:pPr marR="0">
              <a:spcBef>
                <a:spcPts val="0"/>
              </a:spcBef>
              <a:spcAft>
                <a:spcPts val="0"/>
              </a:spcAft>
            </a:pPr>
            <a:endParaRPr lang="en-US" sz="1200" dirty="0"/>
          </a:p>
          <a:p>
            <a:pPr marR="0">
              <a:spcBef>
                <a:spcPts val="0"/>
              </a:spcBef>
              <a:spcAft>
                <a:spcPts val="0"/>
              </a:spcAft>
            </a:pPr>
            <a:r>
              <a:rPr lang="en-US" sz="1200" dirty="0"/>
              <a:t>(01:02):</a:t>
            </a:r>
          </a:p>
          <a:p>
            <a:pPr marR="0">
              <a:spcBef>
                <a:spcPts val="0"/>
              </a:spcBef>
              <a:spcAft>
                <a:spcPts val="0"/>
              </a:spcAft>
            </a:pPr>
            <a:r>
              <a:rPr lang="en-US" sz="1200" dirty="0"/>
              <a:t>Welcome to another episode of Crossroads by Alantra. We have the pleasure of hosting Elan Adler, the founder and CEO of </a:t>
            </a:r>
            <a:r>
              <a:rPr lang="en-US" sz="1200" dirty="0" err="1"/>
              <a:t>OneImaging</a:t>
            </a:r>
            <a:r>
              <a:rPr lang="en-US" sz="1200" dirty="0"/>
              <a:t>, a radiology network that strives to reduce medical imaging costs for employers nationwide. Prior to founding </a:t>
            </a:r>
            <a:r>
              <a:rPr lang="en-US" sz="1200" dirty="0" err="1"/>
              <a:t>OneImaging</a:t>
            </a:r>
            <a:r>
              <a:rPr lang="en-US" sz="1200" dirty="0"/>
              <a:t>, Elan has held various roles in the radiology industry, including as a technician, outpatient clinic manager, and salesperson. My colleague, Ricky Zhu, who has done extensive work in this segment over the last few years will be joining me on this podcast. Elan, Ricky, welcome to the podcast.</a:t>
            </a:r>
          </a:p>
          <a:p>
            <a:pPr marR="0">
              <a:spcBef>
                <a:spcPts val="0"/>
              </a:spcBef>
              <a:spcAft>
                <a:spcPts val="0"/>
              </a:spcAft>
            </a:pPr>
            <a:endParaRPr lang="en-US" sz="1200" dirty="0"/>
          </a:p>
          <a:p>
            <a:pPr marR="0">
              <a:spcBef>
                <a:spcPts val="0"/>
              </a:spcBef>
              <a:spcAft>
                <a:spcPts val="0"/>
              </a:spcAft>
            </a:pPr>
            <a:r>
              <a:rPr lang="en-US" sz="1200" b="1" dirty="0">
                <a:solidFill>
                  <a:schemeClr val="accent1"/>
                </a:solidFill>
                <a:latin typeface="+mj-lt"/>
              </a:rPr>
              <a:t>Elan Adler </a:t>
            </a:r>
            <a:r>
              <a:rPr lang="en-US" sz="1200" dirty="0"/>
              <a:t>(01:37):</a:t>
            </a:r>
          </a:p>
          <a:p>
            <a:pPr marR="0">
              <a:spcBef>
                <a:spcPts val="0"/>
              </a:spcBef>
              <a:spcAft>
                <a:spcPts val="0"/>
              </a:spcAft>
            </a:pPr>
            <a:r>
              <a:rPr lang="en-US" sz="1200" dirty="0"/>
              <a:t>Thank you. I appreciate it. Thanks for having me.</a:t>
            </a:r>
          </a:p>
          <a:p>
            <a:pPr marR="0">
              <a:spcBef>
                <a:spcPts val="0"/>
              </a:spcBef>
              <a:spcAft>
                <a:spcPts val="0"/>
              </a:spcAft>
            </a:pPr>
            <a:endParaRPr lang="en-US" sz="1200" dirty="0"/>
          </a:p>
          <a:p>
            <a:pPr marR="0">
              <a:spcBef>
                <a:spcPts val="0"/>
              </a:spcBef>
              <a:spcAft>
                <a:spcPts val="0"/>
              </a:spcAft>
            </a:pPr>
            <a:r>
              <a:rPr lang="en-US" sz="1200" b="1" dirty="0">
                <a:solidFill>
                  <a:schemeClr val="accent1"/>
                </a:solidFill>
                <a:latin typeface="+mj-lt"/>
              </a:rPr>
              <a:t>Frederic Laurier </a:t>
            </a:r>
            <a:r>
              <a:rPr lang="en-US" sz="1200" dirty="0"/>
              <a:t>(01:39):</a:t>
            </a:r>
          </a:p>
          <a:p>
            <a:pPr marR="0">
              <a:spcBef>
                <a:spcPts val="0"/>
              </a:spcBef>
              <a:spcAft>
                <a:spcPts val="0"/>
              </a:spcAft>
            </a:pPr>
            <a:r>
              <a:rPr lang="en-US" sz="1200" dirty="0"/>
              <a:t>So Elan, let's start by having you provide some context on how and when you got involved with radiology, if you don't mind.</a:t>
            </a:r>
          </a:p>
          <a:p>
            <a:pPr marR="0">
              <a:spcBef>
                <a:spcPts val="0"/>
              </a:spcBef>
              <a:spcAft>
                <a:spcPts val="0"/>
              </a:spcAft>
            </a:pPr>
            <a:endParaRPr lang="en-US" sz="1200" dirty="0"/>
          </a:p>
          <a:p>
            <a:r>
              <a:rPr lang="en-US" sz="1200" b="1" dirty="0">
                <a:solidFill>
                  <a:schemeClr val="accent1"/>
                </a:solidFill>
                <a:latin typeface="+mj-lt"/>
              </a:rPr>
              <a:t>Elan Adler </a:t>
            </a:r>
            <a:r>
              <a:rPr lang="en-US" sz="1200" dirty="0"/>
              <a:t>(01:46):</a:t>
            </a:r>
          </a:p>
          <a:p>
            <a:r>
              <a:rPr lang="en-US" sz="1200" dirty="0"/>
              <a:t>Yeah, it goes back pretty far. So when I was 13, 14 years old my dad actually started a radiology company with my best friend's dad who was a radiologist. And they were providing mobile x-rays and ultrasounds to assisted living centers and nursing homes. So, I was exposed at an age that young, and my brother ended up becoming a radiologic technologist before moving on to another career. And due to all the influence of radiology around me, I ended up pursuing a degree in radiologic sciences and MRI physics. Ultimately realized I don't know if I love the patient care aspect of radiology. What I was most intrigued by was the scientific part of it, as well as the business applications.</a:t>
            </a:r>
          </a:p>
          <a:p>
            <a:pPr marR="0">
              <a:spcBef>
                <a:spcPts val="0"/>
              </a:spcBef>
              <a:spcAft>
                <a:spcPts val="0"/>
              </a:spcAft>
            </a:pPr>
            <a:endParaRPr lang="en-US" sz="1200" dirty="0"/>
          </a:p>
          <a:p>
            <a:pPr marR="0">
              <a:spcBef>
                <a:spcPts val="0"/>
              </a:spcBef>
              <a:spcAft>
                <a:spcPts val="0"/>
              </a:spcAft>
            </a:pPr>
            <a:r>
              <a:rPr lang="en-US" sz="1200" dirty="0"/>
              <a:t>(02:30):</a:t>
            </a:r>
          </a:p>
          <a:p>
            <a:pPr marR="0">
              <a:spcBef>
                <a:spcPts val="0"/>
              </a:spcBef>
              <a:spcAft>
                <a:spcPts val="0"/>
              </a:spcAft>
            </a:pPr>
            <a:r>
              <a:rPr lang="en-US" sz="1200" dirty="0"/>
              <a:t>I thought to myself at that age, what other technology exists in the world that allows you to look inside your body? If you say, "Hey, this part of my body's bothering me. I'm feeling this type of symptom or that type of symptom." This is the only technology that I know of, at least, that exists today that can allow you to actually get an answer and a solution and understand what is happening. And so that drove me and compelled me to pursue a business career in radiology.</a:t>
            </a:r>
          </a:p>
          <a:p>
            <a:pPr marR="0">
              <a:spcBef>
                <a:spcPts val="0"/>
              </a:spcBef>
              <a:spcAft>
                <a:spcPts val="0"/>
              </a:spcAft>
            </a:pPr>
            <a:endParaRPr lang="en-US" sz="1200" dirty="0"/>
          </a:p>
        </p:txBody>
      </p:sp>
      <p:pic>
        <p:nvPicPr>
          <p:cNvPr id="4" name="Picture 3" descr="A person in a black shirt&#10;&#10;Description automatically generated">
            <a:extLst>
              <a:ext uri="{FF2B5EF4-FFF2-40B4-BE49-F238E27FC236}">
                <a16:creationId xmlns:a16="http://schemas.microsoft.com/office/drawing/2014/main" id="{1ED776A2-05E7-EAE7-4BA7-C184DE856F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231" y="5507453"/>
            <a:ext cx="420624" cy="420624"/>
          </a:xfrm>
          <a:prstGeom prst="ellipse">
            <a:avLst/>
          </a:prstGeom>
          <a:solidFill>
            <a:srgbClr val="F7F8F4"/>
          </a:solidFill>
        </p:spPr>
      </p:pic>
      <p:pic>
        <p:nvPicPr>
          <p:cNvPr id="7" name="Picture 6">
            <a:extLst>
              <a:ext uri="{FF2B5EF4-FFF2-40B4-BE49-F238E27FC236}">
                <a16:creationId xmlns:a16="http://schemas.microsoft.com/office/drawing/2014/main" id="{CF9C28E5-1299-2CE9-F3FE-F0D19EEE31C4}"/>
              </a:ext>
            </a:extLst>
          </p:cNvPr>
          <p:cNvPicPr>
            <a:picLocks noChangeAspect="1"/>
          </p:cNvPicPr>
          <p:nvPr/>
        </p:nvPicPr>
        <p:blipFill>
          <a:blip r:embed="rId4"/>
          <a:stretch>
            <a:fillRect/>
          </a:stretch>
        </p:blipFill>
        <p:spPr>
          <a:xfrm>
            <a:off x="426231" y="4953957"/>
            <a:ext cx="420624" cy="420624"/>
          </a:xfrm>
          <a:prstGeom prst="ellipse">
            <a:avLst/>
          </a:prstGeom>
        </p:spPr>
      </p:pic>
      <p:pic>
        <p:nvPicPr>
          <p:cNvPr id="8" name="Picture 7">
            <a:extLst>
              <a:ext uri="{FF2B5EF4-FFF2-40B4-BE49-F238E27FC236}">
                <a16:creationId xmlns:a16="http://schemas.microsoft.com/office/drawing/2014/main" id="{45110C3D-C7BA-227F-9C4E-8852E0FD4846}"/>
              </a:ext>
            </a:extLst>
          </p:cNvPr>
          <p:cNvPicPr>
            <a:picLocks noChangeAspect="1"/>
          </p:cNvPicPr>
          <p:nvPr/>
        </p:nvPicPr>
        <p:blipFill>
          <a:blip r:embed="rId4"/>
          <a:stretch>
            <a:fillRect/>
          </a:stretch>
        </p:blipFill>
        <p:spPr>
          <a:xfrm>
            <a:off x="426231" y="6224816"/>
            <a:ext cx="420624" cy="420624"/>
          </a:xfrm>
          <a:prstGeom prst="ellipse">
            <a:avLst/>
          </a:prstGeom>
        </p:spPr>
      </p:pic>
    </p:spTree>
    <p:extLst>
      <p:ext uri="{BB962C8B-B14F-4D97-AF65-F5344CB8AC3E}">
        <p14:creationId xmlns:p14="http://schemas.microsoft.com/office/powerpoint/2010/main" val="3404556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48650-2449-2633-EC67-9A26C8891427}"/>
            </a:ext>
          </a:extLst>
        </p:cNvPr>
        <p:cNvGrpSpPr/>
        <p:nvPr/>
      </p:nvGrpSpPr>
      <p:grpSpPr>
        <a:xfrm>
          <a:off x="0" y="0"/>
          <a:ext cx="0" cy="0"/>
          <a:chOff x="0" y="0"/>
          <a:chExt cx="0" cy="0"/>
        </a:xfrm>
      </p:grpSpPr>
      <p:pic>
        <p:nvPicPr>
          <p:cNvPr id="3" name="Picture 2" descr="A person in a black shirt&#10;&#10;Description automatically generated">
            <a:extLst>
              <a:ext uri="{FF2B5EF4-FFF2-40B4-BE49-F238E27FC236}">
                <a16:creationId xmlns:a16="http://schemas.microsoft.com/office/drawing/2014/main" id="{17321D70-E6D9-9225-D8FC-D2FC06B1D0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231" y="3286677"/>
            <a:ext cx="420624" cy="420624"/>
          </a:xfrm>
          <a:prstGeom prst="ellipse">
            <a:avLst/>
          </a:prstGeom>
          <a:solidFill>
            <a:srgbClr val="F7F8F4"/>
          </a:solidFill>
        </p:spPr>
      </p:pic>
      <p:sp>
        <p:nvSpPr>
          <p:cNvPr id="31" name="TextBox 30">
            <a:extLst>
              <a:ext uri="{FF2B5EF4-FFF2-40B4-BE49-F238E27FC236}">
                <a16:creationId xmlns:a16="http://schemas.microsoft.com/office/drawing/2014/main" id="{1366AC27-2AC7-AFB5-8AF8-C60B8E2382DA}"/>
              </a:ext>
            </a:extLst>
          </p:cNvPr>
          <p:cNvSpPr txBox="1"/>
          <p:nvPr/>
        </p:nvSpPr>
        <p:spPr>
          <a:xfrm flipH="1">
            <a:off x="406908" y="725540"/>
            <a:ext cx="6958584" cy="384721"/>
          </a:xfrm>
          <a:prstGeom prst="rect">
            <a:avLst/>
          </a:prstGeom>
          <a:noFill/>
        </p:spPr>
        <p:txBody>
          <a:bodyPr wrap="square" lIns="0" tIns="0" rIns="0" bIns="0" rtlCol="0">
            <a:spAutoFit/>
          </a:bodyPr>
          <a:lstStyle/>
          <a:p>
            <a:r>
              <a:rPr lang="en-US" sz="2500" dirty="0">
                <a:solidFill>
                  <a:srgbClr val="A9C47F"/>
                </a:solidFill>
                <a:latin typeface="FS Joey" panose="02000506040000020004" pitchFamily="50" charset="0"/>
              </a:rPr>
              <a:t>Episode Transcript</a:t>
            </a:r>
          </a:p>
        </p:txBody>
      </p:sp>
      <p:graphicFrame>
        <p:nvGraphicFramePr>
          <p:cNvPr id="2" name="Table 2">
            <a:extLst>
              <a:ext uri="{FF2B5EF4-FFF2-40B4-BE49-F238E27FC236}">
                <a16:creationId xmlns:a16="http://schemas.microsoft.com/office/drawing/2014/main" id="{27AE7C1B-69CF-0542-22CF-CF94CF8CA1A5}"/>
              </a:ext>
            </a:extLst>
          </p:cNvPr>
          <p:cNvGraphicFramePr>
            <a:graphicFrameLocks noGrp="1"/>
          </p:cNvGraphicFramePr>
          <p:nvPr>
            <p:extLst>
              <p:ext uri="{D42A27DB-BD31-4B8C-83A1-F6EECF244321}">
                <p14:modId xmlns:p14="http://schemas.microsoft.com/office/powerpoint/2010/main" val="499208705"/>
              </p:ext>
            </p:extLst>
          </p:nvPr>
        </p:nvGraphicFramePr>
        <p:xfrm>
          <a:off x="406908" y="318008"/>
          <a:ext cx="6958584" cy="201168"/>
        </p:xfrm>
        <a:graphic>
          <a:graphicData uri="http://schemas.openxmlformats.org/drawingml/2006/table">
            <a:tbl>
              <a:tblPr firstRow="1" bandRow="1">
                <a:tableStyleId>{2D5ABB26-0587-4C30-8999-92F81FD0307C}</a:tableStyleId>
              </a:tblPr>
              <a:tblGrid>
                <a:gridCol w="4327652">
                  <a:extLst>
                    <a:ext uri="{9D8B030D-6E8A-4147-A177-3AD203B41FA5}">
                      <a16:colId xmlns:a16="http://schemas.microsoft.com/office/drawing/2014/main" val="1800358546"/>
                    </a:ext>
                  </a:extLst>
                </a:gridCol>
                <a:gridCol w="1564640">
                  <a:extLst>
                    <a:ext uri="{9D8B030D-6E8A-4147-A177-3AD203B41FA5}">
                      <a16:colId xmlns:a16="http://schemas.microsoft.com/office/drawing/2014/main" val="2602549205"/>
                    </a:ext>
                  </a:extLst>
                </a:gridCol>
                <a:gridCol w="1066292">
                  <a:extLst>
                    <a:ext uri="{9D8B030D-6E8A-4147-A177-3AD203B41FA5}">
                      <a16:colId xmlns:a16="http://schemas.microsoft.com/office/drawing/2014/main" val="52187482"/>
                    </a:ext>
                  </a:extLst>
                </a:gridCol>
              </a:tblGrid>
              <a:tr h="17399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latin typeface="+mn-lt"/>
                        </a:rPr>
                        <a:t>Reinserting Capitalism into Healthcare with Elan Adler, CEO of </a:t>
                      </a:r>
                      <a:r>
                        <a:rPr lang="en-US" sz="900" dirty="0" err="1">
                          <a:latin typeface="+mn-lt"/>
                        </a:rPr>
                        <a:t>OneImaging</a:t>
                      </a:r>
                      <a:endParaRPr lang="en-US" sz="900" dirty="0">
                        <a:latin typeface="+mn-lt"/>
                      </a:endParaRPr>
                    </a:p>
                  </a:txBody>
                  <a:tcPr marL="0" marR="0" marT="0" marB="64008"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latin typeface="+mn-lt"/>
                        </a:rPr>
                        <a:t>Podcast Episode Release</a:t>
                      </a:r>
                    </a:p>
                  </a:txBody>
                  <a:tcPr marR="0" marT="0" marB="64008" anchor="b">
                    <a:lnL w="9525" cap="flat" cmpd="sng" algn="ctr">
                      <a:solidFill>
                        <a:schemeClr val="tx1"/>
                      </a:solidFill>
                      <a:prstDash val="solid"/>
                      <a:round/>
                      <a:headEnd type="none" w="med" len="med"/>
                      <a:tailEnd type="none" w="med" len="med"/>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77240" rtl="0" eaLnBrk="1" fontAlgn="auto" latinLnBrk="0" hangingPunct="1">
                        <a:lnSpc>
                          <a:spcPct val="100000"/>
                        </a:lnSpc>
                        <a:spcBef>
                          <a:spcPts val="0"/>
                        </a:spcBef>
                        <a:spcAft>
                          <a:spcPts val="0"/>
                        </a:spcAft>
                        <a:buClrTx/>
                        <a:buSzTx/>
                        <a:buFontTx/>
                        <a:buNone/>
                        <a:tabLst/>
                        <a:defRPr/>
                      </a:pPr>
                      <a:r>
                        <a:rPr lang="en-US" sz="900" dirty="0"/>
                        <a:t>3</a:t>
                      </a:r>
                    </a:p>
                  </a:txBody>
                  <a:tcPr marL="0" marR="0" marT="0" marB="64008" anchor="b">
                    <a:lnL>
                      <a:noFill/>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6628539"/>
                  </a:ext>
                </a:extLst>
              </a:tr>
            </a:tbl>
          </a:graphicData>
        </a:graphic>
      </p:graphicFrame>
      <p:sp>
        <p:nvSpPr>
          <p:cNvPr id="6" name="TextBox 5">
            <a:extLst>
              <a:ext uri="{FF2B5EF4-FFF2-40B4-BE49-F238E27FC236}">
                <a16:creationId xmlns:a16="http://schemas.microsoft.com/office/drawing/2014/main" id="{85AAB672-9898-39C0-F60C-C2E14993FC69}"/>
              </a:ext>
            </a:extLst>
          </p:cNvPr>
          <p:cNvSpPr txBox="1"/>
          <p:nvPr/>
        </p:nvSpPr>
        <p:spPr>
          <a:xfrm>
            <a:off x="864108" y="1391920"/>
            <a:ext cx="6501384" cy="7848302"/>
          </a:xfrm>
          <a:prstGeom prst="rect">
            <a:avLst/>
          </a:prstGeom>
          <a:noFill/>
        </p:spPr>
        <p:txBody>
          <a:bodyPr wrap="square" rtlCol="0">
            <a:spAutoFit/>
          </a:bodyPr>
          <a:lstStyle/>
          <a:p>
            <a:pPr marR="0">
              <a:spcBef>
                <a:spcPts val="0"/>
              </a:spcBef>
              <a:spcAft>
                <a:spcPts val="0"/>
              </a:spcAft>
            </a:pPr>
            <a:r>
              <a:rPr lang="en-US" sz="1200" dirty="0"/>
              <a:t>(03:00):</a:t>
            </a:r>
          </a:p>
          <a:p>
            <a:pPr marR="0">
              <a:spcBef>
                <a:spcPts val="0"/>
              </a:spcBef>
              <a:spcAft>
                <a:spcPts val="0"/>
              </a:spcAft>
            </a:pPr>
            <a:r>
              <a:rPr lang="en-US" sz="1200" dirty="0"/>
              <a:t>So at which point afterwards, I went on to get an MBA, and after that, I ended up working for the Cleveland Clinic, managing some of their centers down in South Florida before moving on to work at Siemens, where I started off as a clinical consultant to RadNet, helping them run their MRI operations, implement new products, set up clinical trial protocols, even helped build the first full body imaging scan when they were working with Ezra, helped bring remote scanning technology to the market and create all the protocols around it to implement it at scale in a commercial setting, and then left to lead the enterprise sales and strategic partnerships team for MR products in the west region for Siemens. And that's my background in totality before starting </a:t>
            </a:r>
            <a:r>
              <a:rPr lang="en-US" sz="1200" dirty="0" err="1"/>
              <a:t>OneImaging</a:t>
            </a:r>
            <a:r>
              <a:rPr lang="en-US" sz="1200" dirty="0"/>
              <a:t>.</a:t>
            </a:r>
          </a:p>
          <a:p>
            <a:pPr marR="0">
              <a:spcBef>
                <a:spcPts val="0"/>
              </a:spcBef>
              <a:spcAft>
                <a:spcPts val="0"/>
              </a:spcAft>
            </a:pPr>
            <a:endParaRPr lang="en-US" sz="1200" dirty="0"/>
          </a:p>
          <a:p>
            <a:pPr marR="0">
              <a:spcBef>
                <a:spcPts val="0"/>
              </a:spcBef>
              <a:spcAft>
                <a:spcPts val="0"/>
              </a:spcAft>
            </a:pPr>
            <a:r>
              <a:rPr lang="en-US" sz="1200" b="1" dirty="0">
                <a:solidFill>
                  <a:schemeClr val="accent1"/>
                </a:solidFill>
                <a:latin typeface="+mj-lt"/>
              </a:rPr>
              <a:t>Frederic Laurier </a:t>
            </a:r>
            <a:r>
              <a:rPr lang="en-US" sz="1200" dirty="0"/>
              <a:t>(03:46):</a:t>
            </a:r>
          </a:p>
          <a:p>
            <a:pPr marR="0">
              <a:spcBef>
                <a:spcPts val="0"/>
              </a:spcBef>
              <a:spcAft>
                <a:spcPts val="0"/>
              </a:spcAft>
            </a:pPr>
            <a:r>
              <a:rPr lang="en-US" sz="1200" dirty="0"/>
              <a:t>That's pretty impressive. It sounds like you've been involved with radiology from your teen years. We don't often come across people that have been involved in a specific segment for so long. From your vantage point, what do you see as the biggest inefficiencies in this space, especially when it comes to patients trying to access imaging services?</a:t>
            </a:r>
          </a:p>
          <a:p>
            <a:pPr marR="0">
              <a:spcBef>
                <a:spcPts val="0"/>
              </a:spcBef>
              <a:spcAft>
                <a:spcPts val="0"/>
              </a:spcAft>
            </a:pPr>
            <a:endParaRPr lang="en-US" sz="1200" dirty="0"/>
          </a:p>
          <a:p>
            <a:pPr marR="0">
              <a:spcBef>
                <a:spcPts val="0"/>
              </a:spcBef>
              <a:spcAft>
                <a:spcPts val="0"/>
              </a:spcAft>
            </a:pPr>
            <a:r>
              <a:rPr lang="en-US" sz="1200" b="1" dirty="0">
                <a:solidFill>
                  <a:schemeClr val="accent1"/>
                </a:solidFill>
                <a:latin typeface="+mj-lt"/>
              </a:rPr>
              <a:t>Elad Adler </a:t>
            </a:r>
            <a:r>
              <a:rPr lang="en-US" sz="1200" dirty="0"/>
              <a:t>(04:03):</a:t>
            </a:r>
          </a:p>
          <a:p>
            <a:pPr marR="0">
              <a:spcBef>
                <a:spcPts val="0"/>
              </a:spcBef>
              <a:spcAft>
                <a:spcPts val="0"/>
              </a:spcAft>
            </a:pPr>
            <a:r>
              <a:rPr lang="en-US" sz="1200" dirty="0"/>
              <a:t>Yeah, of course. So, the best way to answer that is what is insurance really? Insurance is a marketplace with payment rails. You could argue that it's very similar to Airbnb or Uber. It connects drivers and it connects riders, and it connects the financial billing between it and makes it really seamless.</a:t>
            </a:r>
          </a:p>
          <a:p>
            <a:pPr marR="0">
              <a:spcBef>
                <a:spcPts val="0"/>
              </a:spcBef>
              <a:spcAft>
                <a:spcPts val="0"/>
              </a:spcAft>
            </a:pPr>
            <a:endParaRPr lang="en-US" sz="1200" dirty="0"/>
          </a:p>
          <a:p>
            <a:pPr marR="0">
              <a:spcBef>
                <a:spcPts val="0"/>
              </a:spcBef>
              <a:spcAft>
                <a:spcPts val="0"/>
              </a:spcAft>
            </a:pPr>
            <a:r>
              <a:rPr lang="en-US" sz="1200" dirty="0"/>
              <a:t>(04:22):</a:t>
            </a:r>
          </a:p>
          <a:p>
            <a:pPr marR="0">
              <a:spcBef>
                <a:spcPts val="0"/>
              </a:spcBef>
              <a:spcAft>
                <a:spcPts val="0"/>
              </a:spcAft>
            </a:pPr>
            <a:r>
              <a:rPr lang="en-US" sz="1200" dirty="0"/>
              <a:t>So </a:t>
            </a:r>
            <a:r>
              <a:rPr lang="en-US" sz="1200" dirty="0" err="1"/>
              <a:t>OneImaging</a:t>
            </a:r>
            <a:r>
              <a:rPr lang="en-US" sz="1200" dirty="0"/>
              <a:t> is a radiology platform with a network of over 4,800 providers across 49 states. And what we do is we've created the financial rails for that as well that reduce a lot of inefficiency. We also automate a lot of the operational processes, just like any other tech platform, for radiology providers as well. And what that does is it reduces a lot of expenses for them and a lot of lost dollars, so dollars that aren't paid from cost share or reimbursements from payers due to incorrect claims billing. That's a ton of money that goes lost, 30% plus of dollars.</a:t>
            </a:r>
          </a:p>
          <a:p>
            <a:pPr marR="0">
              <a:spcBef>
                <a:spcPts val="0"/>
              </a:spcBef>
              <a:spcAft>
                <a:spcPts val="0"/>
              </a:spcAft>
            </a:pPr>
            <a:endParaRPr lang="en-US" sz="1200" dirty="0"/>
          </a:p>
          <a:p>
            <a:pPr marR="0">
              <a:spcBef>
                <a:spcPts val="0"/>
              </a:spcBef>
              <a:spcAft>
                <a:spcPts val="0"/>
              </a:spcAft>
            </a:pPr>
            <a:r>
              <a:rPr lang="en-US" sz="1200" dirty="0"/>
              <a:t>(05:03):</a:t>
            </a:r>
          </a:p>
          <a:p>
            <a:pPr marR="0">
              <a:spcBef>
                <a:spcPts val="0"/>
              </a:spcBef>
              <a:spcAft>
                <a:spcPts val="0"/>
              </a:spcAft>
            </a:pPr>
            <a:r>
              <a:rPr lang="en-US" sz="1200" dirty="0"/>
              <a:t>Our cancellation rate today north of 25% is only 1% with </a:t>
            </a:r>
            <a:r>
              <a:rPr lang="en-US" sz="1200" dirty="0" err="1"/>
              <a:t>OneImaging</a:t>
            </a:r>
            <a:r>
              <a:rPr lang="en-US" sz="1200" dirty="0"/>
              <a:t> members. Net new volume for providers and automating claims processing, payment processing, prior authorization processing, and other things, that reduce </a:t>
            </a:r>
            <a:r>
              <a:rPr lang="en-US" sz="1200" dirty="0" err="1"/>
              <a:t>OpEx</a:t>
            </a:r>
            <a:r>
              <a:rPr lang="en-US" sz="1200" dirty="0"/>
              <a:t> for providers by 30%.</a:t>
            </a:r>
          </a:p>
          <a:p>
            <a:pPr marR="0">
              <a:spcBef>
                <a:spcPts val="0"/>
              </a:spcBef>
              <a:spcAft>
                <a:spcPts val="0"/>
              </a:spcAft>
            </a:pPr>
            <a:endParaRPr lang="en-US" sz="1200" dirty="0"/>
          </a:p>
          <a:p>
            <a:pPr marR="0">
              <a:spcBef>
                <a:spcPts val="0"/>
              </a:spcBef>
              <a:spcAft>
                <a:spcPts val="0"/>
              </a:spcAft>
            </a:pPr>
            <a:r>
              <a:rPr lang="en-US" sz="1200" dirty="0"/>
              <a:t>(05:19):</a:t>
            </a:r>
          </a:p>
          <a:p>
            <a:pPr marR="0">
              <a:spcBef>
                <a:spcPts val="0"/>
              </a:spcBef>
              <a:spcAft>
                <a:spcPts val="0"/>
              </a:spcAft>
            </a:pPr>
            <a:r>
              <a:rPr lang="en-US" sz="1200" dirty="0"/>
              <a:t>So, when you take all these costs, we're able to go to a provider and say, "Hey, here are all these things we're doing, plus providing you net new volume. In return, we'd like to arrange a agreement that reflects that cost pullout that we're taking out of the system." And so that's what we do, where we're negotiating really good rates at average year-to-date 68% lower rates than the market today. We're then able to take those savings and pass them along to plan sponsors, whether it's self-funded employers or health plans while we improve the cost of care and improve the access to care and the speed to get care.</a:t>
            </a:r>
          </a:p>
          <a:p>
            <a:pPr marR="0">
              <a:spcBef>
                <a:spcPts val="0"/>
              </a:spcBef>
              <a:spcAft>
                <a:spcPts val="0"/>
              </a:spcAft>
            </a:pPr>
            <a:endParaRPr lang="en-US" sz="1200" dirty="0"/>
          </a:p>
        </p:txBody>
      </p:sp>
      <p:pic>
        <p:nvPicPr>
          <p:cNvPr id="14" name="Picture 13">
            <a:extLst>
              <a:ext uri="{FF2B5EF4-FFF2-40B4-BE49-F238E27FC236}">
                <a16:creationId xmlns:a16="http://schemas.microsoft.com/office/drawing/2014/main" id="{3FEC89A7-F523-BAC4-7EE7-0B6B39DDB791}"/>
              </a:ext>
            </a:extLst>
          </p:cNvPr>
          <p:cNvPicPr>
            <a:picLocks noChangeAspect="1"/>
          </p:cNvPicPr>
          <p:nvPr/>
        </p:nvPicPr>
        <p:blipFill>
          <a:blip r:embed="rId4"/>
          <a:stretch>
            <a:fillRect/>
          </a:stretch>
        </p:blipFill>
        <p:spPr>
          <a:xfrm>
            <a:off x="426231" y="4407063"/>
            <a:ext cx="420624" cy="420624"/>
          </a:xfrm>
          <a:prstGeom prst="ellipse">
            <a:avLst/>
          </a:prstGeom>
        </p:spPr>
      </p:pic>
      <p:pic>
        <p:nvPicPr>
          <p:cNvPr id="15" name="Picture 14">
            <a:extLst>
              <a:ext uri="{FF2B5EF4-FFF2-40B4-BE49-F238E27FC236}">
                <a16:creationId xmlns:a16="http://schemas.microsoft.com/office/drawing/2014/main" id="{E4F0FB4E-83F9-444F-88A7-077B7D5EDF7E}"/>
              </a:ext>
            </a:extLst>
          </p:cNvPr>
          <p:cNvPicPr>
            <a:picLocks noChangeAspect="1"/>
          </p:cNvPicPr>
          <p:nvPr/>
        </p:nvPicPr>
        <p:blipFill>
          <a:blip r:embed="rId4"/>
          <a:stretch>
            <a:fillRect/>
          </a:stretch>
        </p:blipFill>
        <p:spPr>
          <a:xfrm>
            <a:off x="426231" y="1445619"/>
            <a:ext cx="420624" cy="420624"/>
          </a:xfrm>
          <a:prstGeom prst="ellipse">
            <a:avLst/>
          </a:prstGeom>
        </p:spPr>
      </p:pic>
    </p:spTree>
    <p:extLst>
      <p:ext uri="{BB962C8B-B14F-4D97-AF65-F5344CB8AC3E}">
        <p14:creationId xmlns:p14="http://schemas.microsoft.com/office/powerpoint/2010/main" val="35251933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E7744-3F24-89C0-5A1B-368E81812560}"/>
            </a:ext>
          </a:extLst>
        </p:cNvPr>
        <p:cNvGrpSpPr/>
        <p:nvPr/>
      </p:nvGrpSpPr>
      <p:grpSpPr>
        <a:xfrm>
          <a:off x="0" y="0"/>
          <a:ext cx="0" cy="0"/>
          <a:chOff x="0" y="0"/>
          <a:chExt cx="0" cy="0"/>
        </a:xfrm>
      </p:grpSpPr>
      <p:sp>
        <p:nvSpPr>
          <p:cNvPr id="31" name="TextBox 30">
            <a:extLst>
              <a:ext uri="{FF2B5EF4-FFF2-40B4-BE49-F238E27FC236}">
                <a16:creationId xmlns:a16="http://schemas.microsoft.com/office/drawing/2014/main" id="{31B933AD-061C-3BA0-5C25-C34EF2882A99}"/>
              </a:ext>
            </a:extLst>
          </p:cNvPr>
          <p:cNvSpPr txBox="1"/>
          <p:nvPr/>
        </p:nvSpPr>
        <p:spPr>
          <a:xfrm flipH="1">
            <a:off x="406908" y="725540"/>
            <a:ext cx="6958584" cy="384721"/>
          </a:xfrm>
          <a:prstGeom prst="rect">
            <a:avLst/>
          </a:prstGeom>
          <a:noFill/>
        </p:spPr>
        <p:txBody>
          <a:bodyPr wrap="square" lIns="0" tIns="0" rIns="0" bIns="0" rtlCol="0">
            <a:spAutoFit/>
          </a:bodyPr>
          <a:lstStyle/>
          <a:p>
            <a:r>
              <a:rPr lang="en-US" sz="2500" dirty="0">
                <a:solidFill>
                  <a:srgbClr val="A9C47F"/>
                </a:solidFill>
                <a:latin typeface="FS Joey" panose="02000506040000020004" pitchFamily="50" charset="0"/>
              </a:rPr>
              <a:t>Episode Transcript</a:t>
            </a:r>
          </a:p>
        </p:txBody>
      </p:sp>
      <p:sp>
        <p:nvSpPr>
          <p:cNvPr id="6" name="TextBox 5">
            <a:extLst>
              <a:ext uri="{FF2B5EF4-FFF2-40B4-BE49-F238E27FC236}">
                <a16:creationId xmlns:a16="http://schemas.microsoft.com/office/drawing/2014/main" id="{B4CAD19F-9D99-B27C-13D6-04745D392D18}"/>
              </a:ext>
            </a:extLst>
          </p:cNvPr>
          <p:cNvSpPr txBox="1"/>
          <p:nvPr/>
        </p:nvSpPr>
        <p:spPr>
          <a:xfrm>
            <a:off x="864108" y="1391920"/>
            <a:ext cx="6501384" cy="710963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34A2C"/>
                </a:solidFill>
                <a:effectLst/>
                <a:uLnTx/>
                <a:uFillTx/>
                <a:latin typeface="FS Joey"/>
                <a:ea typeface="+mn-ea"/>
                <a:cs typeface="+mn-cs"/>
              </a:rPr>
              <a:t>Frederic Laurier</a:t>
            </a:r>
            <a:r>
              <a:rPr kumimoji="0" lang="en-US" sz="1200" b="0" i="0" u="none" strike="noStrike" kern="1200" cap="none" spc="0" normalizeH="0" baseline="0" noProof="0" dirty="0">
                <a:ln>
                  <a:noFill/>
                </a:ln>
                <a:solidFill>
                  <a:prstClr val="black"/>
                </a:solidFill>
                <a:effectLst/>
                <a:uLnTx/>
                <a:uFillTx/>
                <a:latin typeface="FS Joey Light"/>
                <a:ea typeface="+mn-ea"/>
                <a:cs typeface="+mn-cs"/>
              </a:rPr>
              <a:t> (05:5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FS Joey Light"/>
                <a:ea typeface="+mn-ea"/>
                <a:cs typeface="+mn-cs"/>
              </a:rPr>
              <a:t>So, what was the eureka moment? Did you witness a horror story of somebody trying to shop for a medical imaging center and found a cost to be egregious? What was the impetus for you to start </a:t>
            </a:r>
            <a:r>
              <a:rPr kumimoji="0" lang="en-US" sz="1200" b="0" i="0" u="none" strike="noStrike" kern="1200" cap="none" spc="0" normalizeH="0" baseline="0" noProof="0" dirty="0" err="1">
                <a:ln>
                  <a:noFill/>
                </a:ln>
                <a:solidFill>
                  <a:prstClr val="black"/>
                </a:solidFill>
                <a:effectLst/>
                <a:uLnTx/>
                <a:uFillTx/>
                <a:latin typeface="FS Joey Light"/>
                <a:ea typeface="+mn-ea"/>
                <a:cs typeface="+mn-cs"/>
              </a:rPr>
              <a:t>OneImaging</a:t>
            </a:r>
            <a:r>
              <a:rPr kumimoji="0" lang="en-US" sz="1200" b="0" i="0" u="none" strike="noStrike" kern="1200" cap="none" spc="0" normalizeH="0" baseline="0" noProof="0" dirty="0">
                <a:ln>
                  <a:noFill/>
                </a:ln>
                <a:solidFill>
                  <a:prstClr val="black"/>
                </a:solidFill>
                <a:effectLst/>
                <a:uLnTx/>
                <a:uFillTx/>
                <a:latin typeface="FS Joey Light"/>
                <a:ea typeface="+mn-ea"/>
                <a:cs typeface="+mn-cs"/>
              </a:rPr>
              <a:t>?</a:t>
            </a:r>
            <a:endParaRPr lang="en-US" sz="1200" b="1" dirty="0">
              <a:solidFill>
                <a:schemeClr val="accent1"/>
              </a:solidFill>
              <a:latin typeface="+mj-lt"/>
            </a:endParaRPr>
          </a:p>
          <a:p>
            <a:pPr marR="0">
              <a:spcBef>
                <a:spcPts val="0"/>
              </a:spcBef>
              <a:spcAft>
                <a:spcPts val="0"/>
              </a:spcAft>
            </a:pPr>
            <a:endParaRPr lang="en-US" sz="1200" b="1" dirty="0">
              <a:solidFill>
                <a:schemeClr val="accent1"/>
              </a:solidFill>
              <a:latin typeface="+mj-lt"/>
            </a:endParaRPr>
          </a:p>
          <a:p>
            <a:pPr marR="0">
              <a:spcBef>
                <a:spcPts val="0"/>
              </a:spcBef>
              <a:spcAft>
                <a:spcPts val="0"/>
              </a:spcAft>
            </a:pPr>
            <a:r>
              <a:rPr lang="en-US" sz="1200" b="1" dirty="0">
                <a:solidFill>
                  <a:schemeClr val="accent1"/>
                </a:solidFill>
                <a:latin typeface="+mj-lt"/>
              </a:rPr>
              <a:t>Elan Adler </a:t>
            </a:r>
            <a:r>
              <a:rPr lang="en-US" sz="1200" dirty="0"/>
              <a:t>(06:07):</a:t>
            </a:r>
          </a:p>
          <a:p>
            <a:pPr marR="0">
              <a:spcBef>
                <a:spcPts val="0"/>
              </a:spcBef>
              <a:spcAft>
                <a:spcPts val="0"/>
              </a:spcAft>
            </a:pPr>
            <a:r>
              <a:rPr lang="en-US" sz="1200" dirty="0"/>
              <a:t>So, for me, it was more personal originally. My dad, when I was younger, had a lump in his armpit and went to the doctor, "Hey, I'm going to order an MRI. Not sure what this is." We grew up in Cleveland Clinic, so large that it has its own campus that has its own zip code in the downtown Cleveland area. Despite being so large, took six weeks to get in for an appointment because hospitals are servicing ER patients, are servicing inpatients, ICU patients. And ultimately, what happens is you're not given the perception of choice. So you send all these people that you have this large market share in the primary care and specialist setting in Cleveland, and all these doctors are all sending people to the same place. It creates a huge backlog. Six weeks go by, that cancer spreads to the chest, causes a double mastectomy, radiation therapy and years of cancer drugs.</a:t>
            </a:r>
          </a:p>
          <a:p>
            <a:pPr marR="0">
              <a:spcBef>
                <a:spcPts val="0"/>
              </a:spcBef>
              <a:spcAft>
                <a:spcPts val="0"/>
              </a:spcAft>
            </a:pPr>
            <a:endParaRPr lang="en-US" sz="1200" dirty="0"/>
          </a:p>
          <a:p>
            <a:pPr marR="0">
              <a:spcBef>
                <a:spcPts val="0"/>
              </a:spcBef>
              <a:spcAft>
                <a:spcPts val="0"/>
              </a:spcAft>
            </a:pPr>
            <a:r>
              <a:rPr lang="en-US" sz="1200" dirty="0"/>
              <a:t>(06:59):</a:t>
            </a:r>
          </a:p>
          <a:p>
            <a:pPr marR="0">
              <a:spcBef>
                <a:spcPts val="0"/>
              </a:spcBef>
              <a:spcAft>
                <a:spcPts val="0"/>
              </a:spcAft>
            </a:pPr>
            <a:r>
              <a:rPr lang="en-US" sz="1200" dirty="0"/>
              <a:t>That was the personal story for me where I was like, "What? There's tons of providers. Why didn't you go somewhere else?" And then a couple of years go by and people start to look at me as the radiology guy. You ask your friends, your family, you ask your neighbors, "Where do I go to get this surgery? Where do I go to ...? What doctor should I go to? " It's very word of mouth. So people said, "Hey, Elan, my doctor wrote me an order to get a radiology exam." So sometimes doctors just print out the orders. It's not as common. And they say, "Go get it done, come back with a disc." Okay, well, where do I go?</a:t>
            </a:r>
          </a:p>
          <a:p>
            <a:pPr marR="0">
              <a:spcBef>
                <a:spcPts val="0"/>
              </a:spcBef>
              <a:spcAft>
                <a:spcPts val="0"/>
              </a:spcAft>
            </a:pPr>
            <a:endParaRPr lang="en-US" sz="1200" dirty="0"/>
          </a:p>
          <a:p>
            <a:pPr marR="0">
              <a:spcBef>
                <a:spcPts val="0"/>
              </a:spcBef>
              <a:spcAft>
                <a:spcPts val="0"/>
              </a:spcAft>
            </a:pPr>
            <a:r>
              <a:rPr lang="en-US" sz="1200" dirty="0"/>
              <a:t>(07:31):</a:t>
            </a:r>
          </a:p>
          <a:p>
            <a:pPr marR="0">
              <a:spcBef>
                <a:spcPts val="0"/>
              </a:spcBef>
              <a:spcAft>
                <a:spcPts val="0"/>
              </a:spcAft>
            </a:pPr>
            <a:r>
              <a:rPr lang="en-US" sz="1200" dirty="0"/>
              <a:t>The first thing people do is they go on Google. And then how do you navigate what is in network? What is the price? Who has the lowest cost? Who has good equipment? Who has good radiologists? All of this is unavailable. This information is completely unavailable to people. And so I was determined to make this available to people. Closest to your home, good price point, good equipment, good radiologist that's in network with your insurance plan. That is what I wanted to bring to the market because that's a black box for people. Beyond just realizing that they actually do have choice.</a:t>
            </a:r>
          </a:p>
          <a:p>
            <a:pPr marR="0">
              <a:spcBef>
                <a:spcPts val="0"/>
              </a:spcBef>
              <a:spcAft>
                <a:spcPts val="0"/>
              </a:spcAft>
            </a:pPr>
            <a:endParaRPr lang="en-US" sz="1200" dirty="0"/>
          </a:p>
          <a:p>
            <a:pPr marR="0">
              <a:spcBef>
                <a:spcPts val="0"/>
              </a:spcBef>
              <a:spcAft>
                <a:spcPts val="0"/>
              </a:spcAft>
            </a:pPr>
            <a:r>
              <a:rPr lang="en-US" sz="1200" dirty="0"/>
              <a:t>(08:05):</a:t>
            </a:r>
          </a:p>
          <a:p>
            <a:pPr marR="0">
              <a:spcBef>
                <a:spcPts val="0"/>
              </a:spcBef>
              <a:spcAft>
                <a:spcPts val="0"/>
              </a:spcAft>
            </a:pPr>
            <a:r>
              <a:rPr lang="en-US" sz="1200" dirty="0"/>
              <a:t>I always liken the healthcare system world to amusement parks. Once you enter the amusement park, it's really hard to find the exit. And then everything inside the amusement park costs a lot of money. You want to get a hot dog at the stand there, it costs 20 bucks. Now, the second you leave the amusement park, you can go and get that same hot dog on a stand on the corner of New York City, the most expensive city in the country, for $3. Why is that? So how do we look at site of service? Cost reduction as part of this as well is a factor too.</a:t>
            </a:r>
          </a:p>
        </p:txBody>
      </p:sp>
      <p:graphicFrame>
        <p:nvGraphicFramePr>
          <p:cNvPr id="15" name="Table 2">
            <a:extLst>
              <a:ext uri="{FF2B5EF4-FFF2-40B4-BE49-F238E27FC236}">
                <a16:creationId xmlns:a16="http://schemas.microsoft.com/office/drawing/2014/main" id="{7C2D289F-D9B6-E1A2-57B1-D22F5492EB7E}"/>
              </a:ext>
            </a:extLst>
          </p:cNvPr>
          <p:cNvGraphicFramePr>
            <a:graphicFrameLocks noGrp="1"/>
          </p:cNvGraphicFramePr>
          <p:nvPr>
            <p:extLst>
              <p:ext uri="{D42A27DB-BD31-4B8C-83A1-F6EECF244321}">
                <p14:modId xmlns:p14="http://schemas.microsoft.com/office/powerpoint/2010/main" val="244090587"/>
              </p:ext>
            </p:extLst>
          </p:nvPr>
        </p:nvGraphicFramePr>
        <p:xfrm>
          <a:off x="406908" y="318008"/>
          <a:ext cx="6958584" cy="201168"/>
        </p:xfrm>
        <a:graphic>
          <a:graphicData uri="http://schemas.openxmlformats.org/drawingml/2006/table">
            <a:tbl>
              <a:tblPr firstRow="1" bandRow="1">
                <a:tableStyleId>{2D5ABB26-0587-4C30-8999-92F81FD0307C}</a:tableStyleId>
              </a:tblPr>
              <a:tblGrid>
                <a:gridCol w="4327652">
                  <a:extLst>
                    <a:ext uri="{9D8B030D-6E8A-4147-A177-3AD203B41FA5}">
                      <a16:colId xmlns:a16="http://schemas.microsoft.com/office/drawing/2014/main" val="1800358546"/>
                    </a:ext>
                  </a:extLst>
                </a:gridCol>
                <a:gridCol w="1564640">
                  <a:extLst>
                    <a:ext uri="{9D8B030D-6E8A-4147-A177-3AD203B41FA5}">
                      <a16:colId xmlns:a16="http://schemas.microsoft.com/office/drawing/2014/main" val="2602549205"/>
                    </a:ext>
                  </a:extLst>
                </a:gridCol>
                <a:gridCol w="1066292">
                  <a:extLst>
                    <a:ext uri="{9D8B030D-6E8A-4147-A177-3AD203B41FA5}">
                      <a16:colId xmlns:a16="http://schemas.microsoft.com/office/drawing/2014/main" val="52187482"/>
                    </a:ext>
                  </a:extLst>
                </a:gridCol>
              </a:tblGrid>
              <a:tr h="17399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latin typeface="+mn-lt"/>
                        </a:rPr>
                        <a:t>Reinserting Capitalism into Healthcare with Elan Adler, CEO of </a:t>
                      </a:r>
                      <a:r>
                        <a:rPr lang="en-US" sz="900" dirty="0" err="1">
                          <a:latin typeface="+mn-lt"/>
                        </a:rPr>
                        <a:t>OneImaging</a:t>
                      </a:r>
                      <a:endParaRPr lang="en-US" sz="900" dirty="0">
                        <a:latin typeface="+mn-lt"/>
                      </a:endParaRPr>
                    </a:p>
                  </a:txBody>
                  <a:tcPr marL="0" marR="0" marT="0" marB="64008"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latin typeface="+mn-lt"/>
                        </a:rPr>
                        <a:t>Podcast Episode Release</a:t>
                      </a:r>
                    </a:p>
                  </a:txBody>
                  <a:tcPr marR="0" marT="0" marB="64008" anchor="b">
                    <a:lnL w="9525" cap="flat" cmpd="sng" algn="ctr">
                      <a:solidFill>
                        <a:schemeClr val="tx1"/>
                      </a:solidFill>
                      <a:prstDash val="solid"/>
                      <a:round/>
                      <a:headEnd type="none" w="med" len="med"/>
                      <a:tailEnd type="none" w="med" len="med"/>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77240" rtl="0" eaLnBrk="1" fontAlgn="auto" latinLnBrk="0" hangingPunct="1">
                        <a:lnSpc>
                          <a:spcPct val="100000"/>
                        </a:lnSpc>
                        <a:spcBef>
                          <a:spcPts val="0"/>
                        </a:spcBef>
                        <a:spcAft>
                          <a:spcPts val="0"/>
                        </a:spcAft>
                        <a:buClrTx/>
                        <a:buSzTx/>
                        <a:buFontTx/>
                        <a:buNone/>
                        <a:tabLst/>
                        <a:defRPr/>
                      </a:pPr>
                      <a:r>
                        <a:rPr lang="en-US" sz="900" dirty="0"/>
                        <a:t>4</a:t>
                      </a:r>
                    </a:p>
                  </a:txBody>
                  <a:tcPr marL="0" marR="0" marT="0" marB="64008" anchor="b">
                    <a:lnL>
                      <a:noFill/>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6628539"/>
                  </a:ext>
                </a:extLst>
              </a:tr>
            </a:tbl>
          </a:graphicData>
        </a:graphic>
      </p:graphicFrame>
      <p:pic>
        <p:nvPicPr>
          <p:cNvPr id="2" name="Picture 1" descr="A person in a black shirt&#10;&#10;Description automatically generated">
            <a:extLst>
              <a:ext uri="{FF2B5EF4-FFF2-40B4-BE49-F238E27FC236}">
                <a16:creationId xmlns:a16="http://schemas.microsoft.com/office/drawing/2014/main" id="{DE99887F-938E-20D8-DA93-23B2BE7344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231" y="1448501"/>
            <a:ext cx="420624" cy="420624"/>
          </a:xfrm>
          <a:prstGeom prst="ellipse">
            <a:avLst/>
          </a:prstGeom>
          <a:solidFill>
            <a:srgbClr val="F7F8F4"/>
          </a:solidFill>
        </p:spPr>
      </p:pic>
      <p:pic>
        <p:nvPicPr>
          <p:cNvPr id="3" name="Picture 2">
            <a:extLst>
              <a:ext uri="{FF2B5EF4-FFF2-40B4-BE49-F238E27FC236}">
                <a16:creationId xmlns:a16="http://schemas.microsoft.com/office/drawing/2014/main" id="{F466756B-3F8B-03C0-EAD6-D34909E01299}"/>
              </a:ext>
            </a:extLst>
          </p:cNvPr>
          <p:cNvPicPr>
            <a:picLocks noChangeAspect="1"/>
          </p:cNvPicPr>
          <p:nvPr/>
        </p:nvPicPr>
        <p:blipFill>
          <a:blip r:embed="rId4"/>
          <a:stretch>
            <a:fillRect/>
          </a:stretch>
        </p:blipFill>
        <p:spPr>
          <a:xfrm>
            <a:off x="426231" y="2218123"/>
            <a:ext cx="420624" cy="420624"/>
          </a:xfrm>
          <a:prstGeom prst="ellipse">
            <a:avLst/>
          </a:prstGeom>
        </p:spPr>
      </p:pic>
    </p:spTree>
    <p:extLst>
      <p:ext uri="{BB962C8B-B14F-4D97-AF65-F5344CB8AC3E}">
        <p14:creationId xmlns:p14="http://schemas.microsoft.com/office/powerpoint/2010/main" val="41298052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F2D464-1AC4-E841-2233-5F897E1D62C8}"/>
            </a:ext>
          </a:extLst>
        </p:cNvPr>
        <p:cNvGrpSpPr/>
        <p:nvPr/>
      </p:nvGrpSpPr>
      <p:grpSpPr>
        <a:xfrm>
          <a:off x="0" y="0"/>
          <a:ext cx="0" cy="0"/>
          <a:chOff x="0" y="0"/>
          <a:chExt cx="0" cy="0"/>
        </a:xfrm>
      </p:grpSpPr>
      <p:sp>
        <p:nvSpPr>
          <p:cNvPr id="31" name="TextBox 30">
            <a:extLst>
              <a:ext uri="{FF2B5EF4-FFF2-40B4-BE49-F238E27FC236}">
                <a16:creationId xmlns:a16="http://schemas.microsoft.com/office/drawing/2014/main" id="{2E3C3820-82D6-17B5-B46F-8271B851C61E}"/>
              </a:ext>
            </a:extLst>
          </p:cNvPr>
          <p:cNvSpPr txBox="1"/>
          <p:nvPr/>
        </p:nvSpPr>
        <p:spPr>
          <a:xfrm flipH="1">
            <a:off x="406908" y="725540"/>
            <a:ext cx="6958584" cy="384721"/>
          </a:xfrm>
          <a:prstGeom prst="rect">
            <a:avLst/>
          </a:prstGeom>
          <a:noFill/>
        </p:spPr>
        <p:txBody>
          <a:bodyPr wrap="square" lIns="0" tIns="0" rIns="0" bIns="0" rtlCol="0">
            <a:spAutoFit/>
          </a:bodyPr>
          <a:lstStyle/>
          <a:p>
            <a:r>
              <a:rPr lang="en-US" sz="2500" dirty="0">
                <a:solidFill>
                  <a:srgbClr val="A9C47F"/>
                </a:solidFill>
                <a:latin typeface="FS Joey" panose="02000506040000020004" pitchFamily="50" charset="0"/>
              </a:rPr>
              <a:t>Episode Transcript</a:t>
            </a:r>
          </a:p>
        </p:txBody>
      </p:sp>
      <p:graphicFrame>
        <p:nvGraphicFramePr>
          <p:cNvPr id="2" name="Table 2">
            <a:extLst>
              <a:ext uri="{FF2B5EF4-FFF2-40B4-BE49-F238E27FC236}">
                <a16:creationId xmlns:a16="http://schemas.microsoft.com/office/drawing/2014/main" id="{FE6EF395-A47D-0957-1B8C-72DA967E6BB8}"/>
              </a:ext>
            </a:extLst>
          </p:cNvPr>
          <p:cNvGraphicFramePr>
            <a:graphicFrameLocks noGrp="1"/>
          </p:cNvGraphicFramePr>
          <p:nvPr>
            <p:extLst>
              <p:ext uri="{D42A27DB-BD31-4B8C-83A1-F6EECF244321}">
                <p14:modId xmlns:p14="http://schemas.microsoft.com/office/powerpoint/2010/main" val="2078437482"/>
              </p:ext>
            </p:extLst>
          </p:nvPr>
        </p:nvGraphicFramePr>
        <p:xfrm>
          <a:off x="406908" y="318008"/>
          <a:ext cx="6958584" cy="201168"/>
        </p:xfrm>
        <a:graphic>
          <a:graphicData uri="http://schemas.openxmlformats.org/drawingml/2006/table">
            <a:tbl>
              <a:tblPr firstRow="1" bandRow="1">
                <a:tableStyleId>{2D5ABB26-0587-4C30-8999-92F81FD0307C}</a:tableStyleId>
              </a:tblPr>
              <a:tblGrid>
                <a:gridCol w="4327652">
                  <a:extLst>
                    <a:ext uri="{9D8B030D-6E8A-4147-A177-3AD203B41FA5}">
                      <a16:colId xmlns:a16="http://schemas.microsoft.com/office/drawing/2014/main" val="1800358546"/>
                    </a:ext>
                  </a:extLst>
                </a:gridCol>
                <a:gridCol w="1564640">
                  <a:extLst>
                    <a:ext uri="{9D8B030D-6E8A-4147-A177-3AD203B41FA5}">
                      <a16:colId xmlns:a16="http://schemas.microsoft.com/office/drawing/2014/main" val="2602549205"/>
                    </a:ext>
                  </a:extLst>
                </a:gridCol>
                <a:gridCol w="1066292">
                  <a:extLst>
                    <a:ext uri="{9D8B030D-6E8A-4147-A177-3AD203B41FA5}">
                      <a16:colId xmlns:a16="http://schemas.microsoft.com/office/drawing/2014/main" val="52187482"/>
                    </a:ext>
                  </a:extLst>
                </a:gridCol>
              </a:tblGrid>
              <a:tr h="17399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latin typeface="+mn-lt"/>
                        </a:rPr>
                        <a:t>Reinserting Capitalism into Healthcare with Elan Adler, CEO of </a:t>
                      </a:r>
                      <a:r>
                        <a:rPr lang="en-US" sz="900" dirty="0" err="1">
                          <a:latin typeface="+mn-lt"/>
                        </a:rPr>
                        <a:t>OneImaging</a:t>
                      </a:r>
                      <a:endParaRPr lang="en-US" sz="900" dirty="0">
                        <a:latin typeface="+mn-lt"/>
                      </a:endParaRPr>
                    </a:p>
                  </a:txBody>
                  <a:tcPr marL="0" marR="0" marT="0" marB="64008"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latin typeface="+mn-lt"/>
                        </a:rPr>
                        <a:t>Podcast Episode Release</a:t>
                      </a:r>
                    </a:p>
                  </a:txBody>
                  <a:tcPr marR="0" marT="0" marB="64008" anchor="b">
                    <a:lnL w="9525" cap="flat" cmpd="sng" algn="ctr">
                      <a:solidFill>
                        <a:schemeClr val="tx1"/>
                      </a:solidFill>
                      <a:prstDash val="solid"/>
                      <a:round/>
                      <a:headEnd type="none" w="med" len="med"/>
                      <a:tailEnd type="none" w="med" len="med"/>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77240" rtl="0" eaLnBrk="1" fontAlgn="auto" latinLnBrk="0" hangingPunct="1">
                        <a:lnSpc>
                          <a:spcPct val="100000"/>
                        </a:lnSpc>
                        <a:spcBef>
                          <a:spcPts val="0"/>
                        </a:spcBef>
                        <a:spcAft>
                          <a:spcPts val="0"/>
                        </a:spcAft>
                        <a:buClrTx/>
                        <a:buSzTx/>
                        <a:buFontTx/>
                        <a:buNone/>
                        <a:tabLst/>
                        <a:defRPr/>
                      </a:pPr>
                      <a:r>
                        <a:rPr lang="en-US" sz="900" dirty="0"/>
                        <a:t>5</a:t>
                      </a:r>
                    </a:p>
                  </a:txBody>
                  <a:tcPr marL="0" marR="0" marT="0" marB="64008" anchor="b">
                    <a:lnL>
                      <a:noFill/>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6628539"/>
                  </a:ext>
                </a:extLst>
              </a:tr>
            </a:tbl>
          </a:graphicData>
        </a:graphic>
      </p:graphicFrame>
      <p:sp>
        <p:nvSpPr>
          <p:cNvPr id="6" name="TextBox 5">
            <a:extLst>
              <a:ext uri="{FF2B5EF4-FFF2-40B4-BE49-F238E27FC236}">
                <a16:creationId xmlns:a16="http://schemas.microsoft.com/office/drawing/2014/main" id="{0B403573-2A36-E6D4-139D-1CCE46586E41}"/>
              </a:ext>
            </a:extLst>
          </p:cNvPr>
          <p:cNvSpPr txBox="1"/>
          <p:nvPr/>
        </p:nvSpPr>
        <p:spPr>
          <a:xfrm>
            <a:off x="864108" y="1391920"/>
            <a:ext cx="6501384" cy="8217634"/>
          </a:xfrm>
          <a:prstGeom prst="rect">
            <a:avLst/>
          </a:prstGeom>
          <a:noFill/>
        </p:spPr>
        <p:txBody>
          <a:bodyPr wrap="square" rtlCol="0">
            <a:spAutoFit/>
          </a:bodyPr>
          <a:lstStyle/>
          <a:p>
            <a:pPr marR="0">
              <a:spcBef>
                <a:spcPts val="0"/>
              </a:spcBef>
              <a:spcAft>
                <a:spcPts val="0"/>
              </a:spcAft>
            </a:pPr>
            <a:r>
              <a:rPr lang="en-US" sz="1200" dirty="0"/>
              <a:t>(08:42):</a:t>
            </a:r>
          </a:p>
          <a:p>
            <a:pPr marR="0">
              <a:spcBef>
                <a:spcPts val="0"/>
              </a:spcBef>
              <a:spcAft>
                <a:spcPts val="0"/>
              </a:spcAft>
            </a:pPr>
            <a:r>
              <a:rPr lang="en-US" sz="1200" dirty="0"/>
              <a:t>And so ultimately, it's giving people that perception of choice that you can go to a different amusement park, you can go to wherever you want. But ultimately, at the end of the day, it's not like your primary carer or your specialist has a huge network of contacts where they know every radiology center, they don't know what the equipment is, what is good equipment. Providers that order the imaging do not know this. The radiologists and the admin staff running radiology centers do know this. So there's a disconnect. Patients do not know this. How do we bring this information to people on a platform that makes it super easy to book an appointment, decide where you want to go, have that perception of choice? And when you have choice, you have competition. And when you have competition, you're able to lower price. This is my belief that we are able to reinsert capitalism into healthcare. And by doing so, we're able to lower the costs. And that's ultimately what is driving me here a bit and what we're solving for and what we're able to do.</a:t>
            </a:r>
            <a:endParaRPr lang="en-US" sz="1200" b="1" dirty="0">
              <a:solidFill>
                <a:schemeClr val="accent1"/>
              </a:solidFill>
              <a:latin typeface="+mj-lt"/>
            </a:endParaRPr>
          </a:p>
          <a:p>
            <a:pPr marR="0">
              <a:spcBef>
                <a:spcPts val="0"/>
              </a:spcBef>
              <a:spcAft>
                <a:spcPts val="0"/>
              </a:spcAft>
            </a:pPr>
            <a:br>
              <a:rPr lang="en-US" sz="1200" b="1" dirty="0">
                <a:solidFill>
                  <a:schemeClr val="accent1"/>
                </a:solidFill>
                <a:latin typeface="+mj-lt"/>
              </a:rPr>
            </a:br>
            <a:r>
              <a:rPr lang="en-US" sz="1200" b="1" dirty="0">
                <a:solidFill>
                  <a:schemeClr val="accent1"/>
                </a:solidFill>
                <a:latin typeface="+mj-lt"/>
              </a:rPr>
              <a:t>Frederic Laurier </a:t>
            </a:r>
            <a:r>
              <a:rPr lang="en-US" sz="1200" dirty="0"/>
              <a:t>(09:41):</a:t>
            </a:r>
          </a:p>
          <a:p>
            <a:pPr marR="0">
              <a:spcBef>
                <a:spcPts val="0"/>
              </a:spcBef>
              <a:spcAft>
                <a:spcPts val="0"/>
              </a:spcAft>
            </a:pPr>
            <a:r>
              <a:rPr lang="en-US" sz="1200" dirty="0"/>
              <a:t>But to do that, you need volume. It's the typical chicken-and-egg problem: What came first? Supply of radiologists or demand from patients? Did you sign up radiologists and went to consumers, say, "Hey, I got this great marketplace," or was it the reverse, or did you just simply do both at the same time?</a:t>
            </a:r>
          </a:p>
          <a:p>
            <a:pPr marR="0">
              <a:spcBef>
                <a:spcPts val="0"/>
              </a:spcBef>
              <a:spcAft>
                <a:spcPts val="0"/>
              </a:spcAft>
            </a:pPr>
            <a:endParaRPr lang="en-US" sz="1200" dirty="0"/>
          </a:p>
          <a:p>
            <a:pPr marR="0">
              <a:spcBef>
                <a:spcPts val="0"/>
              </a:spcBef>
              <a:spcAft>
                <a:spcPts val="0"/>
              </a:spcAft>
            </a:pPr>
            <a:r>
              <a:rPr lang="en-US" sz="1200" b="1" dirty="0">
                <a:solidFill>
                  <a:schemeClr val="accent1"/>
                </a:solidFill>
                <a:latin typeface="+mj-lt"/>
              </a:rPr>
              <a:t>Elan Adler </a:t>
            </a:r>
            <a:r>
              <a:rPr lang="en-US" sz="1200" dirty="0"/>
              <a:t>(09:58):</a:t>
            </a:r>
          </a:p>
          <a:p>
            <a:pPr marR="0">
              <a:spcBef>
                <a:spcPts val="0"/>
              </a:spcBef>
              <a:spcAft>
                <a:spcPts val="0"/>
              </a:spcAft>
            </a:pPr>
            <a:r>
              <a:rPr lang="en-US" sz="1200" dirty="0"/>
              <a:t>We actually started with the supply. I came into </a:t>
            </a:r>
            <a:r>
              <a:rPr lang="en-US" sz="1200" dirty="0" err="1"/>
              <a:t>OneImaging</a:t>
            </a:r>
            <a:r>
              <a:rPr lang="en-US" sz="1200" dirty="0"/>
              <a:t> knowing nothing about insurance. In fact, it was originally a B2C product, and that has its own funny story. It wasn't until we were raising capital, and the first investor I met, his mentor was at VSP and was the CEO of VSP for a very long time, for I think 50 years or something. And he said to me after I pitched him, he goes, "No, no, no, no, no, sell to employers." And I go, "What are you talking about?" And this didn't occur to me. I didn't know what a self-funded employer was. He said, "Sell to self-funded employers, you're the VSP of imaging."</a:t>
            </a:r>
          </a:p>
          <a:p>
            <a:pPr marR="0">
              <a:spcBef>
                <a:spcPts val="0"/>
              </a:spcBef>
              <a:spcAft>
                <a:spcPts val="0"/>
              </a:spcAft>
            </a:pPr>
            <a:endParaRPr lang="en-US" sz="1200" dirty="0"/>
          </a:p>
          <a:p>
            <a:pPr marR="0">
              <a:spcBef>
                <a:spcPts val="0"/>
              </a:spcBef>
              <a:spcAft>
                <a:spcPts val="0"/>
              </a:spcAft>
            </a:pPr>
            <a:r>
              <a:rPr lang="en-US" sz="1200" dirty="0"/>
              <a:t>(10:35):</a:t>
            </a:r>
          </a:p>
          <a:p>
            <a:pPr marR="0">
              <a:spcBef>
                <a:spcPts val="0"/>
              </a:spcBef>
              <a:spcAft>
                <a:spcPts val="0"/>
              </a:spcAft>
            </a:pPr>
            <a:r>
              <a:rPr lang="en-US" sz="1200" dirty="0"/>
              <a:t>So what I had come to him with was, "Hey, I understand that if we can create point of sale claim adjudication, point of sale reimbursement, if we can wipe out this nasty RCM system that currently exists, if we can decrease cancellations."</a:t>
            </a:r>
          </a:p>
          <a:p>
            <a:pPr marR="0">
              <a:spcBef>
                <a:spcPts val="0"/>
              </a:spcBef>
              <a:spcAft>
                <a:spcPts val="0"/>
              </a:spcAft>
            </a:pPr>
            <a:endParaRPr lang="en-US" sz="1200" dirty="0"/>
          </a:p>
          <a:p>
            <a:pPr marR="0">
              <a:spcBef>
                <a:spcPts val="0"/>
              </a:spcBef>
              <a:spcAft>
                <a:spcPts val="0"/>
              </a:spcAft>
            </a:pPr>
            <a:r>
              <a:rPr lang="en-US" sz="1200" dirty="0"/>
              <a:t>(10:52):</a:t>
            </a:r>
          </a:p>
          <a:p>
            <a:pPr marR="0">
              <a:spcBef>
                <a:spcPts val="0"/>
              </a:spcBef>
              <a:spcAft>
                <a:spcPts val="0"/>
              </a:spcAft>
            </a:pPr>
            <a:r>
              <a:rPr lang="en-US" sz="1200" dirty="0"/>
              <a:t>I looked at it like, what is the value? I know radiology centers, I know radiology operations, I knew all the things that they're not good at. I knew the things that are antiquated and need to be innovated. My idea was that's the area I know, let me double down on that. Let me go to the providers. Let me create value for them. If I can create value for them, I can talk to them. Those are my people. Those are the people I know. I don't know employers, I don't know insurance plans, I don't know how they're buy, I don't know how they operate, but I know radiology and outpatient imaging really, really well. I know hospital imaging really, really well. Let me talk to those individuals, and let me start there. So that's how it started. I went to the supply side, and that allowed me to go to large employers right away because we already had substantial coverage for them, significant coverage.</a:t>
            </a:r>
          </a:p>
          <a:p>
            <a:pPr marR="0">
              <a:spcBef>
                <a:spcPts val="0"/>
              </a:spcBef>
              <a:spcAft>
                <a:spcPts val="0"/>
              </a:spcAft>
            </a:pPr>
            <a:endParaRPr lang="en-US" sz="1200" dirty="0"/>
          </a:p>
          <a:p>
            <a:pPr marR="0">
              <a:spcBef>
                <a:spcPts val="0"/>
              </a:spcBef>
              <a:spcAft>
                <a:spcPts val="0"/>
              </a:spcAft>
            </a:pPr>
            <a:r>
              <a:rPr lang="en-US" sz="1200" b="1" dirty="0">
                <a:solidFill>
                  <a:schemeClr val="accent1"/>
                </a:solidFill>
                <a:latin typeface="+mj-lt"/>
              </a:rPr>
              <a:t>Frederic Laurier </a:t>
            </a:r>
            <a:r>
              <a:rPr lang="en-US" sz="1200" dirty="0"/>
              <a:t>(11:37):</a:t>
            </a:r>
          </a:p>
          <a:p>
            <a:pPr marR="0">
              <a:spcBef>
                <a:spcPts val="0"/>
              </a:spcBef>
              <a:spcAft>
                <a:spcPts val="0"/>
              </a:spcAft>
            </a:pPr>
            <a:r>
              <a:rPr lang="en-US" sz="1200" dirty="0"/>
              <a:t>Fascinating. Let me now turn the floor over to Ricky. Ricky, if you don't mind.</a:t>
            </a:r>
          </a:p>
        </p:txBody>
      </p:sp>
      <p:pic>
        <p:nvPicPr>
          <p:cNvPr id="3" name="Picture 2" descr="A person in a black shirt&#10;&#10;Description automatically generated">
            <a:extLst>
              <a:ext uri="{FF2B5EF4-FFF2-40B4-BE49-F238E27FC236}">
                <a16:creationId xmlns:a16="http://schemas.microsoft.com/office/drawing/2014/main" id="{8FA25377-08F6-612B-0935-92B261F926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231" y="3686094"/>
            <a:ext cx="420624" cy="420624"/>
          </a:xfrm>
          <a:prstGeom prst="ellipse">
            <a:avLst/>
          </a:prstGeom>
          <a:solidFill>
            <a:srgbClr val="F7F8F4"/>
          </a:solidFill>
        </p:spPr>
      </p:pic>
      <p:pic>
        <p:nvPicPr>
          <p:cNvPr id="9" name="Picture 8" descr="A person in a black shirt&#10;&#10;Description automatically generated">
            <a:extLst>
              <a:ext uri="{FF2B5EF4-FFF2-40B4-BE49-F238E27FC236}">
                <a16:creationId xmlns:a16="http://schemas.microsoft.com/office/drawing/2014/main" id="{7F3611CD-6A53-D235-17B0-A51F285030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231" y="8983677"/>
            <a:ext cx="420624" cy="420624"/>
          </a:xfrm>
          <a:prstGeom prst="ellipse">
            <a:avLst/>
          </a:prstGeom>
          <a:solidFill>
            <a:srgbClr val="F7F8F4"/>
          </a:solidFill>
        </p:spPr>
      </p:pic>
      <p:pic>
        <p:nvPicPr>
          <p:cNvPr id="11" name="Picture 10">
            <a:extLst>
              <a:ext uri="{FF2B5EF4-FFF2-40B4-BE49-F238E27FC236}">
                <a16:creationId xmlns:a16="http://schemas.microsoft.com/office/drawing/2014/main" id="{6F0E369F-DE07-BE09-ECD3-8A405ED361BD}"/>
              </a:ext>
            </a:extLst>
          </p:cNvPr>
          <p:cNvPicPr>
            <a:picLocks noChangeAspect="1"/>
          </p:cNvPicPr>
          <p:nvPr/>
        </p:nvPicPr>
        <p:blipFill>
          <a:blip r:embed="rId4"/>
          <a:stretch>
            <a:fillRect/>
          </a:stretch>
        </p:blipFill>
        <p:spPr>
          <a:xfrm>
            <a:off x="426231" y="4566644"/>
            <a:ext cx="420624" cy="420624"/>
          </a:xfrm>
          <a:prstGeom prst="ellipse">
            <a:avLst/>
          </a:prstGeom>
        </p:spPr>
      </p:pic>
      <p:pic>
        <p:nvPicPr>
          <p:cNvPr id="12" name="Picture 11">
            <a:extLst>
              <a:ext uri="{FF2B5EF4-FFF2-40B4-BE49-F238E27FC236}">
                <a16:creationId xmlns:a16="http://schemas.microsoft.com/office/drawing/2014/main" id="{FC232976-4527-D5C4-5A0B-ED99B9172A64}"/>
              </a:ext>
            </a:extLst>
          </p:cNvPr>
          <p:cNvPicPr>
            <a:picLocks noChangeAspect="1"/>
          </p:cNvPicPr>
          <p:nvPr/>
        </p:nvPicPr>
        <p:blipFill>
          <a:blip r:embed="rId4"/>
          <a:stretch>
            <a:fillRect/>
          </a:stretch>
        </p:blipFill>
        <p:spPr>
          <a:xfrm>
            <a:off x="426231" y="1445619"/>
            <a:ext cx="420624" cy="420624"/>
          </a:xfrm>
          <a:prstGeom prst="ellipse">
            <a:avLst/>
          </a:prstGeom>
        </p:spPr>
      </p:pic>
    </p:spTree>
    <p:extLst>
      <p:ext uri="{BB962C8B-B14F-4D97-AF65-F5344CB8AC3E}">
        <p14:creationId xmlns:p14="http://schemas.microsoft.com/office/powerpoint/2010/main" val="25861256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D414F-5C7B-0351-1E29-3D5F2B411CAB}"/>
            </a:ext>
          </a:extLst>
        </p:cNvPr>
        <p:cNvGrpSpPr/>
        <p:nvPr/>
      </p:nvGrpSpPr>
      <p:grpSpPr>
        <a:xfrm>
          <a:off x="0" y="0"/>
          <a:ext cx="0" cy="0"/>
          <a:chOff x="0" y="0"/>
          <a:chExt cx="0" cy="0"/>
        </a:xfrm>
      </p:grpSpPr>
      <p:sp>
        <p:nvSpPr>
          <p:cNvPr id="31" name="TextBox 30">
            <a:extLst>
              <a:ext uri="{FF2B5EF4-FFF2-40B4-BE49-F238E27FC236}">
                <a16:creationId xmlns:a16="http://schemas.microsoft.com/office/drawing/2014/main" id="{9C61A595-ECA4-5C41-BFB5-66EC45EAB933}"/>
              </a:ext>
            </a:extLst>
          </p:cNvPr>
          <p:cNvSpPr txBox="1"/>
          <p:nvPr/>
        </p:nvSpPr>
        <p:spPr>
          <a:xfrm flipH="1">
            <a:off x="406908" y="725540"/>
            <a:ext cx="6958584" cy="384721"/>
          </a:xfrm>
          <a:prstGeom prst="rect">
            <a:avLst/>
          </a:prstGeom>
          <a:noFill/>
        </p:spPr>
        <p:txBody>
          <a:bodyPr wrap="square" lIns="0" tIns="0" rIns="0" bIns="0" rtlCol="0">
            <a:spAutoFit/>
          </a:bodyPr>
          <a:lstStyle/>
          <a:p>
            <a:r>
              <a:rPr lang="en-US" sz="2500" dirty="0">
                <a:solidFill>
                  <a:srgbClr val="A9C47F"/>
                </a:solidFill>
                <a:latin typeface="FS Joey" panose="02000506040000020004" pitchFamily="50" charset="0"/>
              </a:rPr>
              <a:t>Episode Transcript</a:t>
            </a:r>
          </a:p>
        </p:txBody>
      </p:sp>
      <p:graphicFrame>
        <p:nvGraphicFramePr>
          <p:cNvPr id="2" name="Table 2">
            <a:extLst>
              <a:ext uri="{FF2B5EF4-FFF2-40B4-BE49-F238E27FC236}">
                <a16:creationId xmlns:a16="http://schemas.microsoft.com/office/drawing/2014/main" id="{5AC5586C-1C89-1E7A-E967-CDE13D520E92}"/>
              </a:ext>
            </a:extLst>
          </p:cNvPr>
          <p:cNvGraphicFramePr>
            <a:graphicFrameLocks noGrp="1"/>
          </p:cNvGraphicFramePr>
          <p:nvPr>
            <p:extLst>
              <p:ext uri="{D42A27DB-BD31-4B8C-83A1-F6EECF244321}">
                <p14:modId xmlns:p14="http://schemas.microsoft.com/office/powerpoint/2010/main" val="869600094"/>
              </p:ext>
            </p:extLst>
          </p:nvPr>
        </p:nvGraphicFramePr>
        <p:xfrm>
          <a:off x="406908" y="318008"/>
          <a:ext cx="6958584" cy="201168"/>
        </p:xfrm>
        <a:graphic>
          <a:graphicData uri="http://schemas.openxmlformats.org/drawingml/2006/table">
            <a:tbl>
              <a:tblPr firstRow="1" bandRow="1">
                <a:tableStyleId>{2D5ABB26-0587-4C30-8999-92F81FD0307C}</a:tableStyleId>
              </a:tblPr>
              <a:tblGrid>
                <a:gridCol w="4327652">
                  <a:extLst>
                    <a:ext uri="{9D8B030D-6E8A-4147-A177-3AD203B41FA5}">
                      <a16:colId xmlns:a16="http://schemas.microsoft.com/office/drawing/2014/main" val="1800358546"/>
                    </a:ext>
                  </a:extLst>
                </a:gridCol>
                <a:gridCol w="1564640">
                  <a:extLst>
                    <a:ext uri="{9D8B030D-6E8A-4147-A177-3AD203B41FA5}">
                      <a16:colId xmlns:a16="http://schemas.microsoft.com/office/drawing/2014/main" val="2602549205"/>
                    </a:ext>
                  </a:extLst>
                </a:gridCol>
                <a:gridCol w="1066292">
                  <a:extLst>
                    <a:ext uri="{9D8B030D-6E8A-4147-A177-3AD203B41FA5}">
                      <a16:colId xmlns:a16="http://schemas.microsoft.com/office/drawing/2014/main" val="52187482"/>
                    </a:ext>
                  </a:extLst>
                </a:gridCol>
              </a:tblGrid>
              <a:tr h="17399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latin typeface="+mn-lt"/>
                        </a:rPr>
                        <a:t>Reinserting Capitalism into Healthcare with Elan Adler, CEO of </a:t>
                      </a:r>
                      <a:r>
                        <a:rPr lang="en-US" sz="900" dirty="0" err="1">
                          <a:latin typeface="+mn-lt"/>
                        </a:rPr>
                        <a:t>OneImaging</a:t>
                      </a:r>
                      <a:endParaRPr lang="en-US" sz="900" dirty="0">
                        <a:latin typeface="+mn-lt"/>
                      </a:endParaRPr>
                    </a:p>
                  </a:txBody>
                  <a:tcPr marL="0" marR="0" marT="0" marB="64008"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latin typeface="+mn-lt"/>
                        </a:rPr>
                        <a:t>Podcast Episode Release</a:t>
                      </a:r>
                    </a:p>
                  </a:txBody>
                  <a:tcPr marR="0" marT="0" marB="64008" anchor="b">
                    <a:lnL w="9525" cap="flat" cmpd="sng" algn="ctr">
                      <a:solidFill>
                        <a:schemeClr val="tx1"/>
                      </a:solidFill>
                      <a:prstDash val="solid"/>
                      <a:round/>
                      <a:headEnd type="none" w="med" len="med"/>
                      <a:tailEnd type="none" w="med" len="med"/>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77240" rtl="0" eaLnBrk="1" fontAlgn="auto" latinLnBrk="0" hangingPunct="1">
                        <a:lnSpc>
                          <a:spcPct val="100000"/>
                        </a:lnSpc>
                        <a:spcBef>
                          <a:spcPts val="0"/>
                        </a:spcBef>
                        <a:spcAft>
                          <a:spcPts val="0"/>
                        </a:spcAft>
                        <a:buClrTx/>
                        <a:buSzTx/>
                        <a:buFontTx/>
                        <a:buNone/>
                        <a:tabLst/>
                        <a:defRPr/>
                      </a:pPr>
                      <a:r>
                        <a:rPr lang="en-US" sz="900" dirty="0"/>
                        <a:t>6</a:t>
                      </a:r>
                    </a:p>
                  </a:txBody>
                  <a:tcPr marL="0" marR="0" marT="0" marB="64008" anchor="b">
                    <a:lnL>
                      <a:noFill/>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6628539"/>
                  </a:ext>
                </a:extLst>
              </a:tr>
            </a:tbl>
          </a:graphicData>
        </a:graphic>
      </p:graphicFrame>
      <p:sp>
        <p:nvSpPr>
          <p:cNvPr id="6" name="TextBox 5">
            <a:extLst>
              <a:ext uri="{FF2B5EF4-FFF2-40B4-BE49-F238E27FC236}">
                <a16:creationId xmlns:a16="http://schemas.microsoft.com/office/drawing/2014/main" id="{22D9A00D-B66D-CF27-6D43-EC0BF7F56E7F}"/>
              </a:ext>
            </a:extLst>
          </p:cNvPr>
          <p:cNvSpPr txBox="1"/>
          <p:nvPr/>
        </p:nvSpPr>
        <p:spPr>
          <a:xfrm>
            <a:off x="864108" y="1391920"/>
            <a:ext cx="6501384" cy="840230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34A2C"/>
                </a:solidFill>
                <a:effectLst/>
                <a:uLnTx/>
                <a:uFillTx/>
                <a:latin typeface="FS Joey"/>
                <a:ea typeface="+mn-ea"/>
                <a:cs typeface="+mn-cs"/>
              </a:rPr>
              <a:t>Ricky Zhu </a:t>
            </a:r>
            <a:r>
              <a:rPr kumimoji="0" lang="en-US" sz="1200" b="0" i="0" u="none" strike="noStrike" kern="1200" cap="none" spc="0" normalizeH="0" baseline="0" noProof="0" dirty="0">
                <a:ln>
                  <a:noFill/>
                </a:ln>
                <a:solidFill>
                  <a:prstClr val="black"/>
                </a:solidFill>
                <a:effectLst/>
                <a:uLnTx/>
                <a:uFillTx/>
                <a:latin typeface="FS Joey Light"/>
                <a:ea typeface="+mn-ea"/>
                <a:cs typeface="+mn-cs"/>
              </a:rPr>
              <a:t>(11:4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FS Joey Light"/>
                <a:ea typeface="+mn-ea"/>
                <a:cs typeface="+mn-cs"/>
              </a:rPr>
              <a:t>Thanks, Fred. Elan, </a:t>
            </a:r>
            <a:r>
              <a:rPr kumimoji="0" lang="en-US" sz="1200" b="0" i="0" u="none" strike="noStrike" kern="1200" cap="none" spc="0" normalizeH="0" baseline="0" noProof="0" dirty="0" err="1">
                <a:ln>
                  <a:noFill/>
                </a:ln>
                <a:solidFill>
                  <a:prstClr val="black"/>
                </a:solidFill>
                <a:effectLst/>
                <a:uLnTx/>
                <a:uFillTx/>
                <a:latin typeface="FS Joey Light"/>
                <a:ea typeface="+mn-ea"/>
                <a:cs typeface="+mn-cs"/>
              </a:rPr>
              <a:t>OneImaging</a:t>
            </a:r>
            <a:r>
              <a:rPr kumimoji="0" lang="en-US" sz="1200" b="0" i="0" u="none" strike="noStrike" kern="1200" cap="none" spc="0" normalizeH="0" baseline="0" noProof="0" dirty="0">
                <a:ln>
                  <a:noFill/>
                </a:ln>
                <a:solidFill>
                  <a:prstClr val="black"/>
                </a:solidFill>
                <a:effectLst/>
                <a:uLnTx/>
                <a:uFillTx/>
                <a:latin typeface="FS Joey Light"/>
                <a:ea typeface="+mn-ea"/>
                <a:cs typeface="+mn-cs"/>
              </a:rPr>
              <a:t> has managed to cut cancellation rates from 25% to under 1%. What is driving that dramatic reduc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FS Joey Ligh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34A2C"/>
                </a:solidFill>
                <a:effectLst/>
                <a:uLnTx/>
                <a:uFillTx/>
                <a:latin typeface="FS Joey"/>
                <a:ea typeface="+mn-ea"/>
                <a:cs typeface="+mn-cs"/>
              </a:rPr>
              <a:t>Elan Adler </a:t>
            </a:r>
            <a:r>
              <a:rPr kumimoji="0" lang="en-US" sz="1200" b="0" i="0" u="none" strike="noStrike" kern="1200" cap="none" spc="0" normalizeH="0" baseline="0" noProof="0" dirty="0">
                <a:ln>
                  <a:noFill/>
                </a:ln>
                <a:solidFill>
                  <a:prstClr val="black"/>
                </a:solidFill>
                <a:effectLst/>
                <a:uLnTx/>
                <a:uFillTx/>
                <a:latin typeface="FS Joey Light"/>
                <a:ea typeface="+mn-ea"/>
                <a:cs typeface="+mn-cs"/>
              </a:rPr>
              <a:t>(11:5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FS Joey Light"/>
                <a:ea typeface="+mn-ea"/>
                <a:cs typeface="+mn-cs"/>
              </a:rPr>
              <a:t>The way it works is when you get an exam ordered, order goes over to the provider, provider goes and gets your auth or whatever the case is. You show up for the exam on the date that two front office people decided works. So don't have any choice there. You come in, and they have you start filling out a form. That form asks you a ton of stuff. So, it's not digitized, but we're able to digitize this experience on our platform, and we're able to say, "Hey, this person's allergic to iodine. They're allergic to gadolinium. They have a pacemaker. They have this, they have that." And we're able to share this information, and we're able to triage this very effectively with automation. That doesn't happen today. Not just that, but 35% of people as well delay or forego imaging because they don't know what their out of-pocket cost is.</a:t>
            </a:r>
            <a:endParaRPr lang="en-US" sz="1200" dirty="0"/>
          </a:p>
          <a:p>
            <a:pPr marR="0">
              <a:spcBef>
                <a:spcPts val="0"/>
              </a:spcBef>
              <a:spcAft>
                <a:spcPts val="0"/>
              </a:spcAft>
            </a:pPr>
            <a:endParaRPr lang="en-US" sz="1200" dirty="0"/>
          </a:p>
          <a:p>
            <a:pPr marR="0">
              <a:spcBef>
                <a:spcPts val="0"/>
              </a:spcBef>
              <a:spcAft>
                <a:spcPts val="0"/>
              </a:spcAft>
            </a:pPr>
            <a:r>
              <a:rPr lang="en-US" sz="1200" dirty="0"/>
              <a:t>(12:42):</a:t>
            </a:r>
          </a:p>
          <a:p>
            <a:pPr marR="0">
              <a:spcBef>
                <a:spcPts val="0"/>
              </a:spcBef>
              <a:spcAft>
                <a:spcPts val="0"/>
              </a:spcAft>
            </a:pPr>
            <a:r>
              <a:rPr lang="en-US" sz="1200" dirty="0"/>
              <a:t>At the end of the day, people all know this experience. A lot of people know this frightening experience of delayed authorizations, denied authorizations, high costs, and it being a nightmare. And so they actually delay or forego the exam because they're like, "Hey, I'm going to have to spend 1,000, 2,000, $3,000. I don't have that money this month."</a:t>
            </a:r>
          </a:p>
          <a:p>
            <a:pPr marR="0">
              <a:spcBef>
                <a:spcPts val="0"/>
              </a:spcBef>
              <a:spcAft>
                <a:spcPts val="0"/>
              </a:spcAft>
            </a:pPr>
            <a:endParaRPr lang="en-US" sz="1200" dirty="0"/>
          </a:p>
          <a:p>
            <a:pPr marR="0">
              <a:spcBef>
                <a:spcPts val="0"/>
              </a:spcBef>
              <a:spcAft>
                <a:spcPts val="0"/>
              </a:spcAft>
            </a:pPr>
            <a:r>
              <a:rPr lang="en-US" sz="1200" dirty="0"/>
              <a:t>(13:01):</a:t>
            </a:r>
          </a:p>
          <a:p>
            <a:pPr marR="0">
              <a:spcBef>
                <a:spcPts val="0"/>
              </a:spcBef>
              <a:spcAft>
                <a:spcPts val="0"/>
              </a:spcAft>
            </a:pPr>
            <a:r>
              <a:rPr lang="en-US" sz="1200" dirty="0"/>
              <a:t>But if we lower the cost and we show them what their out of-pocket cost is, we show them their out of-pocket only, "Hey, it's $100 because you've hit your deductible." "Oh, okay." And by the way, if you can't afford $100, which some people can't, unfortunately, we have a buy-now-pay-later solution that has a zero-rate interest financing to help you break that into installments. And so we're able to cut down this 35% of people that delay or forego or cancel the imaging because of this, all the cancellations that occur because of clinical reasons, and essentially also when people book their appointment, this is peace of mind, and we tell them everything to expect before the exam. So anxiety of claustrophobia, et cetera. So all of these things, they reduce this cancellation rate from 25% for a regular patient to </a:t>
            </a:r>
            <a:r>
              <a:rPr lang="en-US" sz="1200" dirty="0" err="1"/>
              <a:t>OneImaging</a:t>
            </a:r>
            <a:r>
              <a:rPr lang="en-US" sz="1200" dirty="0"/>
              <a:t> today, it's literally less than 1% for our patients to cancel or reschedule the day of.</a:t>
            </a:r>
          </a:p>
          <a:p>
            <a:pPr marR="0">
              <a:spcBef>
                <a:spcPts val="0"/>
              </a:spcBef>
              <a:spcAft>
                <a:spcPts val="0"/>
              </a:spcAft>
            </a:pPr>
            <a:endParaRPr lang="en-US" sz="1200" dirty="0"/>
          </a:p>
          <a:p>
            <a:pPr marR="0">
              <a:spcBef>
                <a:spcPts val="0"/>
              </a:spcBef>
              <a:spcAft>
                <a:spcPts val="0"/>
              </a:spcAft>
            </a:pPr>
            <a:r>
              <a:rPr lang="en-US" sz="1200" b="1" dirty="0">
                <a:solidFill>
                  <a:schemeClr val="accent1"/>
                </a:solidFill>
                <a:latin typeface="+mj-lt"/>
              </a:rPr>
              <a:t>Ricky Zhu </a:t>
            </a:r>
            <a:r>
              <a:rPr lang="en-US" sz="1200" dirty="0"/>
              <a:t>(13:53):</a:t>
            </a:r>
          </a:p>
          <a:p>
            <a:pPr marR="0">
              <a:spcBef>
                <a:spcPts val="0"/>
              </a:spcBef>
              <a:spcAft>
                <a:spcPts val="0"/>
              </a:spcAft>
            </a:pPr>
            <a:r>
              <a:rPr lang="en-US" sz="1200" dirty="0"/>
              <a:t>On the backend, how do you connect radiologists to insurance that is making these exams more affordable?</a:t>
            </a:r>
          </a:p>
          <a:p>
            <a:pPr marR="0">
              <a:spcBef>
                <a:spcPts val="0"/>
              </a:spcBef>
              <a:spcAft>
                <a:spcPts val="0"/>
              </a:spcAft>
            </a:pPr>
            <a:endParaRPr lang="en-US" sz="1200" dirty="0"/>
          </a:p>
          <a:p>
            <a:pPr marR="0">
              <a:spcBef>
                <a:spcPts val="0"/>
              </a:spcBef>
              <a:spcAft>
                <a:spcPts val="0"/>
              </a:spcAft>
            </a:pPr>
            <a:r>
              <a:rPr lang="en-US" sz="1200" b="1" dirty="0">
                <a:solidFill>
                  <a:schemeClr val="accent1"/>
                </a:solidFill>
                <a:latin typeface="+mj-lt"/>
              </a:rPr>
              <a:t>Elan Adler </a:t>
            </a:r>
            <a:r>
              <a:rPr lang="en-US" sz="1200" dirty="0"/>
              <a:t>(13:59):</a:t>
            </a:r>
          </a:p>
          <a:p>
            <a:pPr marR="0">
              <a:spcBef>
                <a:spcPts val="0"/>
              </a:spcBef>
              <a:spcAft>
                <a:spcPts val="0"/>
              </a:spcAft>
            </a:pPr>
            <a:r>
              <a:rPr lang="en-US" sz="1200" dirty="0"/>
              <a:t>The way that it's made more affordable with managed care team, we go and explain this value that we're providing, that's where that comes from. We've created a really cool point-of-sale transaction system where members get a </a:t>
            </a:r>
            <a:r>
              <a:rPr lang="en-US" sz="1200" dirty="0" err="1"/>
              <a:t>OneImaging</a:t>
            </a:r>
            <a:r>
              <a:rPr lang="en-US" sz="1200" dirty="0"/>
              <a:t> card on their phone. They're able to hold their phone up to the point-of-sale machine at the provider. It's able to create real-time reimbursement for providers. And so that essentially removes the entire RCM process. We're able to auto-adjudicate a claim, of course, based on that, and that removes this whole paper billing system as well. Also, all of our members, when they come in to get imaging, there's already a prior authorization. So again, just a ton of value for the imaging providers. They have nothing to worry about. They don't have to worry about collecting costs from the member cost share or from the payer. We're able to do all this on their behalf. No worries about them getting paid.</a:t>
            </a:r>
          </a:p>
        </p:txBody>
      </p:sp>
      <p:grpSp>
        <p:nvGrpSpPr>
          <p:cNvPr id="3" name="Group 2">
            <a:extLst>
              <a:ext uri="{FF2B5EF4-FFF2-40B4-BE49-F238E27FC236}">
                <a16:creationId xmlns:a16="http://schemas.microsoft.com/office/drawing/2014/main" id="{2B96982C-7653-591F-9D8B-DC9EA275BAE0}"/>
              </a:ext>
            </a:extLst>
          </p:cNvPr>
          <p:cNvGrpSpPr/>
          <p:nvPr/>
        </p:nvGrpSpPr>
        <p:grpSpPr>
          <a:xfrm>
            <a:off x="426231" y="1445619"/>
            <a:ext cx="420624" cy="420624"/>
            <a:chOff x="5535389" y="2667957"/>
            <a:chExt cx="1172409" cy="1170432"/>
          </a:xfrm>
        </p:grpSpPr>
        <p:sp>
          <p:nvSpPr>
            <p:cNvPr id="7" name="Oval 6">
              <a:extLst>
                <a:ext uri="{FF2B5EF4-FFF2-40B4-BE49-F238E27FC236}">
                  <a16:creationId xmlns:a16="http://schemas.microsoft.com/office/drawing/2014/main" id="{2B354EEE-47B7-0B9C-7A76-CE989C06986B}"/>
                </a:ext>
              </a:extLst>
            </p:cNvPr>
            <p:cNvSpPr/>
            <p:nvPr/>
          </p:nvSpPr>
          <p:spPr>
            <a:xfrm>
              <a:off x="5536377" y="2674437"/>
              <a:ext cx="1170433" cy="1157472"/>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erson in a suit and tie&#10;&#10;Description automatically generated">
              <a:extLst>
                <a:ext uri="{FF2B5EF4-FFF2-40B4-BE49-F238E27FC236}">
                  <a16:creationId xmlns:a16="http://schemas.microsoft.com/office/drawing/2014/main" id="{9DC02914-6658-4A0D-6C2E-EDEFEBF1AF79}"/>
                </a:ext>
              </a:extLst>
            </p:cNvPr>
            <p:cNvPicPr>
              <a:picLocks noChangeAspect="1"/>
            </p:cNvPicPr>
            <p:nvPr/>
          </p:nvPicPr>
          <p:blipFill rotWithShape="1">
            <a:blip r:embed="rId3">
              <a:extLst>
                <a:ext uri="{28A0092B-C50C-407E-A947-70E740481C1C}">
                  <a14:useLocalDpi xmlns:a14="http://schemas.microsoft.com/office/drawing/2010/main" val="0"/>
                </a:ext>
              </a:extLst>
            </a:blip>
            <a:srcRect l="4478" r="4272" b="8904"/>
            <a:stretch/>
          </p:blipFill>
          <p:spPr>
            <a:xfrm>
              <a:off x="5535389" y="2667957"/>
              <a:ext cx="1172409" cy="1170432"/>
            </a:xfrm>
            <a:prstGeom prst="ellipse">
              <a:avLst/>
            </a:prstGeom>
          </p:spPr>
        </p:pic>
      </p:grpSp>
      <p:pic>
        <p:nvPicPr>
          <p:cNvPr id="9" name="Picture 8">
            <a:extLst>
              <a:ext uri="{FF2B5EF4-FFF2-40B4-BE49-F238E27FC236}">
                <a16:creationId xmlns:a16="http://schemas.microsoft.com/office/drawing/2014/main" id="{83872BE4-7861-1453-766A-A7F96F2211F9}"/>
              </a:ext>
            </a:extLst>
          </p:cNvPr>
          <p:cNvPicPr>
            <a:picLocks noChangeAspect="1"/>
          </p:cNvPicPr>
          <p:nvPr/>
        </p:nvPicPr>
        <p:blipFill>
          <a:blip r:embed="rId4"/>
          <a:stretch>
            <a:fillRect/>
          </a:stretch>
        </p:blipFill>
        <p:spPr>
          <a:xfrm>
            <a:off x="426231" y="2225874"/>
            <a:ext cx="420624" cy="420624"/>
          </a:xfrm>
          <a:prstGeom prst="ellipse">
            <a:avLst/>
          </a:prstGeom>
        </p:spPr>
      </p:pic>
      <p:grpSp>
        <p:nvGrpSpPr>
          <p:cNvPr id="16" name="Group 15">
            <a:extLst>
              <a:ext uri="{FF2B5EF4-FFF2-40B4-BE49-F238E27FC236}">
                <a16:creationId xmlns:a16="http://schemas.microsoft.com/office/drawing/2014/main" id="{9A40674C-89E1-C81B-6649-D72BA51C2C34}"/>
              </a:ext>
            </a:extLst>
          </p:cNvPr>
          <p:cNvGrpSpPr/>
          <p:nvPr/>
        </p:nvGrpSpPr>
        <p:grpSpPr>
          <a:xfrm>
            <a:off x="426231" y="7134623"/>
            <a:ext cx="420624" cy="420624"/>
            <a:chOff x="5535389" y="2667957"/>
            <a:chExt cx="1172409" cy="1170432"/>
          </a:xfrm>
        </p:grpSpPr>
        <p:sp>
          <p:nvSpPr>
            <p:cNvPr id="17" name="Oval 16">
              <a:extLst>
                <a:ext uri="{FF2B5EF4-FFF2-40B4-BE49-F238E27FC236}">
                  <a16:creationId xmlns:a16="http://schemas.microsoft.com/office/drawing/2014/main" id="{71AB5167-789E-75CB-A867-592C50A08E04}"/>
                </a:ext>
              </a:extLst>
            </p:cNvPr>
            <p:cNvSpPr/>
            <p:nvPr/>
          </p:nvSpPr>
          <p:spPr>
            <a:xfrm>
              <a:off x="5536377" y="2674437"/>
              <a:ext cx="1170433" cy="1157472"/>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person in a suit and tie&#10;&#10;Description automatically generated">
              <a:extLst>
                <a:ext uri="{FF2B5EF4-FFF2-40B4-BE49-F238E27FC236}">
                  <a16:creationId xmlns:a16="http://schemas.microsoft.com/office/drawing/2014/main" id="{14AE8210-D629-A6C1-B4F8-8160B8692EDD}"/>
                </a:ext>
              </a:extLst>
            </p:cNvPr>
            <p:cNvPicPr>
              <a:picLocks noChangeAspect="1"/>
            </p:cNvPicPr>
            <p:nvPr/>
          </p:nvPicPr>
          <p:blipFill rotWithShape="1">
            <a:blip r:embed="rId3">
              <a:extLst>
                <a:ext uri="{28A0092B-C50C-407E-A947-70E740481C1C}">
                  <a14:useLocalDpi xmlns:a14="http://schemas.microsoft.com/office/drawing/2010/main" val="0"/>
                </a:ext>
              </a:extLst>
            </a:blip>
            <a:srcRect l="4478" r="4272" b="8904"/>
            <a:stretch/>
          </p:blipFill>
          <p:spPr>
            <a:xfrm>
              <a:off x="5535389" y="2667957"/>
              <a:ext cx="1172409" cy="1170432"/>
            </a:xfrm>
            <a:prstGeom prst="ellipse">
              <a:avLst/>
            </a:prstGeom>
          </p:spPr>
        </p:pic>
      </p:grpSp>
      <p:pic>
        <p:nvPicPr>
          <p:cNvPr id="19" name="Picture 18">
            <a:extLst>
              <a:ext uri="{FF2B5EF4-FFF2-40B4-BE49-F238E27FC236}">
                <a16:creationId xmlns:a16="http://schemas.microsoft.com/office/drawing/2014/main" id="{F6123BD0-ECA7-74FC-3E0A-BABAD8A3E7E4}"/>
              </a:ext>
            </a:extLst>
          </p:cNvPr>
          <p:cNvPicPr>
            <a:picLocks noChangeAspect="1"/>
          </p:cNvPicPr>
          <p:nvPr/>
        </p:nvPicPr>
        <p:blipFill>
          <a:blip r:embed="rId4"/>
          <a:stretch>
            <a:fillRect/>
          </a:stretch>
        </p:blipFill>
        <p:spPr>
          <a:xfrm>
            <a:off x="426231" y="7699356"/>
            <a:ext cx="420624" cy="420624"/>
          </a:xfrm>
          <a:prstGeom prst="ellipse">
            <a:avLst/>
          </a:prstGeom>
        </p:spPr>
      </p:pic>
    </p:spTree>
    <p:extLst>
      <p:ext uri="{BB962C8B-B14F-4D97-AF65-F5344CB8AC3E}">
        <p14:creationId xmlns:p14="http://schemas.microsoft.com/office/powerpoint/2010/main" val="22028964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B8801-262F-F280-4499-A251A211109E}"/>
            </a:ext>
          </a:extLst>
        </p:cNvPr>
        <p:cNvGrpSpPr/>
        <p:nvPr/>
      </p:nvGrpSpPr>
      <p:grpSpPr>
        <a:xfrm>
          <a:off x="0" y="0"/>
          <a:ext cx="0" cy="0"/>
          <a:chOff x="0" y="0"/>
          <a:chExt cx="0" cy="0"/>
        </a:xfrm>
      </p:grpSpPr>
      <p:sp>
        <p:nvSpPr>
          <p:cNvPr id="31" name="TextBox 30">
            <a:extLst>
              <a:ext uri="{FF2B5EF4-FFF2-40B4-BE49-F238E27FC236}">
                <a16:creationId xmlns:a16="http://schemas.microsoft.com/office/drawing/2014/main" id="{CFFE6451-2BAB-87E8-12D4-0A7418A558C0}"/>
              </a:ext>
            </a:extLst>
          </p:cNvPr>
          <p:cNvSpPr txBox="1"/>
          <p:nvPr/>
        </p:nvSpPr>
        <p:spPr>
          <a:xfrm flipH="1">
            <a:off x="406908" y="725540"/>
            <a:ext cx="6958584" cy="384721"/>
          </a:xfrm>
          <a:prstGeom prst="rect">
            <a:avLst/>
          </a:prstGeom>
          <a:noFill/>
        </p:spPr>
        <p:txBody>
          <a:bodyPr wrap="square" lIns="0" tIns="0" rIns="0" bIns="0" rtlCol="0">
            <a:spAutoFit/>
          </a:bodyPr>
          <a:lstStyle/>
          <a:p>
            <a:r>
              <a:rPr lang="en-US" sz="2500" dirty="0">
                <a:solidFill>
                  <a:srgbClr val="A9C47F"/>
                </a:solidFill>
                <a:latin typeface="FS Joey" panose="02000506040000020004" pitchFamily="50" charset="0"/>
              </a:rPr>
              <a:t>Episode Transcript</a:t>
            </a:r>
          </a:p>
        </p:txBody>
      </p:sp>
      <p:graphicFrame>
        <p:nvGraphicFramePr>
          <p:cNvPr id="2" name="Table 2">
            <a:extLst>
              <a:ext uri="{FF2B5EF4-FFF2-40B4-BE49-F238E27FC236}">
                <a16:creationId xmlns:a16="http://schemas.microsoft.com/office/drawing/2014/main" id="{0DCA93CB-22C0-9906-C768-DFCEE9C66157}"/>
              </a:ext>
            </a:extLst>
          </p:cNvPr>
          <p:cNvGraphicFramePr>
            <a:graphicFrameLocks noGrp="1"/>
          </p:cNvGraphicFramePr>
          <p:nvPr>
            <p:extLst>
              <p:ext uri="{D42A27DB-BD31-4B8C-83A1-F6EECF244321}">
                <p14:modId xmlns:p14="http://schemas.microsoft.com/office/powerpoint/2010/main" val="1547575021"/>
              </p:ext>
            </p:extLst>
          </p:nvPr>
        </p:nvGraphicFramePr>
        <p:xfrm>
          <a:off x="406908" y="318008"/>
          <a:ext cx="6958584" cy="201168"/>
        </p:xfrm>
        <a:graphic>
          <a:graphicData uri="http://schemas.openxmlformats.org/drawingml/2006/table">
            <a:tbl>
              <a:tblPr firstRow="1" bandRow="1">
                <a:tableStyleId>{2D5ABB26-0587-4C30-8999-92F81FD0307C}</a:tableStyleId>
              </a:tblPr>
              <a:tblGrid>
                <a:gridCol w="4327652">
                  <a:extLst>
                    <a:ext uri="{9D8B030D-6E8A-4147-A177-3AD203B41FA5}">
                      <a16:colId xmlns:a16="http://schemas.microsoft.com/office/drawing/2014/main" val="1800358546"/>
                    </a:ext>
                  </a:extLst>
                </a:gridCol>
                <a:gridCol w="1564640">
                  <a:extLst>
                    <a:ext uri="{9D8B030D-6E8A-4147-A177-3AD203B41FA5}">
                      <a16:colId xmlns:a16="http://schemas.microsoft.com/office/drawing/2014/main" val="2602549205"/>
                    </a:ext>
                  </a:extLst>
                </a:gridCol>
                <a:gridCol w="1066292">
                  <a:extLst>
                    <a:ext uri="{9D8B030D-6E8A-4147-A177-3AD203B41FA5}">
                      <a16:colId xmlns:a16="http://schemas.microsoft.com/office/drawing/2014/main" val="52187482"/>
                    </a:ext>
                  </a:extLst>
                </a:gridCol>
              </a:tblGrid>
              <a:tr h="17399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latin typeface="+mn-lt"/>
                        </a:rPr>
                        <a:t>Reinserting Capitalism into Healthcare with Elan Adler, CEO of </a:t>
                      </a:r>
                      <a:r>
                        <a:rPr lang="en-US" sz="900" dirty="0" err="1">
                          <a:latin typeface="+mn-lt"/>
                        </a:rPr>
                        <a:t>OneImaging</a:t>
                      </a:r>
                      <a:endParaRPr lang="en-US" sz="900" dirty="0">
                        <a:latin typeface="+mn-lt"/>
                      </a:endParaRPr>
                    </a:p>
                  </a:txBody>
                  <a:tcPr marL="0" marR="0" marT="0" marB="64008"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latin typeface="+mn-lt"/>
                        </a:rPr>
                        <a:t>Podcast Episode Release</a:t>
                      </a:r>
                    </a:p>
                  </a:txBody>
                  <a:tcPr marR="0" marT="0" marB="64008" anchor="b">
                    <a:lnL w="9525" cap="flat" cmpd="sng" algn="ctr">
                      <a:solidFill>
                        <a:schemeClr val="tx1"/>
                      </a:solidFill>
                      <a:prstDash val="solid"/>
                      <a:round/>
                      <a:headEnd type="none" w="med" len="med"/>
                      <a:tailEnd type="none" w="med" len="med"/>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77240" rtl="0" eaLnBrk="1" fontAlgn="auto" latinLnBrk="0" hangingPunct="1">
                        <a:lnSpc>
                          <a:spcPct val="100000"/>
                        </a:lnSpc>
                        <a:spcBef>
                          <a:spcPts val="0"/>
                        </a:spcBef>
                        <a:spcAft>
                          <a:spcPts val="0"/>
                        </a:spcAft>
                        <a:buClrTx/>
                        <a:buSzTx/>
                        <a:buFontTx/>
                        <a:buNone/>
                        <a:tabLst/>
                        <a:defRPr/>
                      </a:pPr>
                      <a:r>
                        <a:rPr lang="en-US" sz="900" dirty="0"/>
                        <a:t>7</a:t>
                      </a:r>
                    </a:p>
                  </a:txBody>
                  <a:tcPr marL="0" marR="0" marT="0" marB="64008" anchor="b">
                    <a:lnL>
                      <a:noFill/>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6628539"/>
                  </a:ext>
                </a:extLst>
              </a:tr>
            </a:tbl>
          </a:graphicData>
        </a:graphic>
      </p:graphicFrame>
      <p:sp>
        <p:nvSpPr>
          <p:cNvPr id="6" name="TextBox 5">
            <a:extLst>
              <a:ext uri="{FF2B5EF4-FFF2-40B4-BE49-F238E27FC236}">
                <a16:creationId xmlns:a16="http://schemas.microsoft.com/office/drawing/2014/main" id="{AC53D5AF-99AF-0943-C02C-C33FC5CD1656}"/>
              </a:ext>
            </a:extLst>
          </p:cNvPr>
          <p:cNvSpPr txBox="1"/>
          <p:nvPr/>
        </p:nvSpPr>
        <p:spPr>
          <a:xfrm>
            <a:off x="864108" y="1391920"/>
            <a:ext cx="6501384" cy="7109639"/>
          </a:xfrm>
          <a:prstGeom prst="rect">
            <a:avLst/>
          </a:prstGeom>
          <a:noFill/>
        </p:spPr>
        <p:txBody>
          <a:bodyPr wrap="square" rtlCol="0">
            <a:spAutoFit/>
          </a:bodyPr>
          <a:lstStyle/>
          <a:p>
            <a:pPr marR="0">
              <a:spcBef>
                <a:spcPts val="0"/>
              </a:spcBef>
              <a:spcAft>
                <a:spcPts val="0"/>
              </a:spcAft>
            </a:pPr>
            <a:r>
              <a:rPr lang="en-US" sz="1200" dirty="0">
                <a:solidFill>
                  <a:prstClr val="black"/>
                </a:solidFill>
              </a:rPr>
              <a:t>(14:50):</a:t>
            </a:r>
            <a:endParaRPr lang="en-US" sz="1200" dirty="0"/>
          </a:p>
          <a:p>
            <a:pPr marR="0">
              <a:spcBef>
                <a:spcPts val="0"/>
              </a:spcBef>
              <a:spcAft>
                <a:spcPts val="0"/>
              </a:spcAft>
            </a:pPr>
            <a:r>
              <a:rPr lang="en-US" sz="1200" dirty="0"/>
              <a:t>Our providers are thrilled when a </a:t>
            </a:r>
            <a:r>
              <a:rPr lang="en-US" sz="1200" dirty="0" err="1"/>
              <a:t>OneImaging</a:t>
            </a:r>
            <a:r>
              <a:rPr lang="en-US" sz="1200" dirty="0"/>
              <a:t> member comes in or a </a:t>
            </a:r>
            <a:r>
              <a:rPr lang="en-US" sz="1200" dirty="0" err="1"/>
              <a:t>OneImaging</a:t>
            </a:r>
            <a:r>
              <a:rPr lang="en-US" sz="1200" dirty="0"/>
              <a:t> patient comes in because they know they have nothing to worry about from clinical stuff to authorization to payment, et cetera. So that payment rail system that I described is how that actually functions. So it's just a click add your Apple Wallet just as if you're getting on an airplane and scanning your boarding pass at the gate.</a:t>
            </a:r>
          </a:p>
          <a:p>
            <a:pPr marR="0">
              <a:spcBef>
                <a:spcPts val="0"/>
              </a:spcBef>
              <a:spcAft>
                <a:spcPts val="0"/>
              </a:spcAft>
            </a:pPr>
            <a:endParaRPr lang="en-US" sz="1200" dirty="0"/>
          </a:p>
          <a:p>
            <a:pPr lvl="0">
              <a:defRPr/>
            </a:pPr>
            <a:r>
              <a:rPr lang="en-US" sz="1200" b="1" dirty="0">
                <a:solidFill>
                  <a:srgbClr val="134A2C"/>
                </a:solidFill>
                <a:latin typeface="FS Joey"/>
              </a:rPr>
              <a:t>Frederic Laurier </a:t>
            </a:r>
            <a:r>
              <a:rPr lang="en-US" sz="1200" dirty="0">
                <a:solidFill>
                  <a:prstClr val="black"/>
                </a:solidFill>
              </a:rPr>
              <a:t>(15:10):</a:t>
            </a:r>
          </a:p>
          <a:p>
            <a:pPr lvl="0">
              <a:defRPr/>
            </a:pPr>
            <a:r>
              <a:rPr lang="en-US" sz="1200" dirty="0">
                <a:solidFill>
                  <a:prstClr val="black"/>
                </a:solidFill>
              </a:rPr>
              <a:t>Elan, one quick question: Was your platform fully built out before launching </a:t>
            </a:r>
            <a:r>
              <a:rPr lang="en-US" sz="1200" dirty="0" err="1">
                <a:solidFill>
                  <a:prstClr val="black"/>
                </a:solidFill>
              </a:rPr>
              <a:t>OneImaging</a:t>
            </a:r>
            <a:r>
              <a:rPr lang="en-US" sz="1200" dirty="0">
                <a:solidFill>
                  <a:prstClr val="black"/>
                </a:solidFill>
              </a:rPr>
              <a:t> or did you do it more in a piecemeal fashion?</a:t>
            </a:r>
          </a:p>
          <a:p>
            <a:pPr lvl="0">
              <a:defRPr/>
            </a:pPr>
            <a:endParaRPr lang="en-US" sz="1200" dirty="0">
              <a:solidFill>
                <a:prstClr val="black"/>
              </a:solidFill>
            </a:endParaRPr>
          </a:p>
          <a:p>
            <a:pPr lvl="0">
              <a:defRPr/>
            </a:pPr>
            <a:r>
              <a:rPr lang="en-US" sz="1200" b="1" dirty="0">
                <a:solidFill>
                  <a:srgbClr val="134A2C"/>
                </a:solidFill>
                <a:latin typeface="FS Joey"/>
              </a:rPr>
              <a:t>Elan Adler </a:t>
            </a:r>
            <a:r>
              <a:rPr lang="en-US" sz="1200" dirty="0">
                <a:solidFill>
                  <a:prstClr val="black"/>
                </a:solidFill>
              </a:rPr>
              <a:t>(15:19):</a:t>
            </a:r>
          </a:p>
          <a:p>
            <a:pPr lvl="0">
              <a:defRPr/>
            </a:pPr>
            <a:r>
              <a:rPr lang="en-US" sz="1200" dirty="0">
                <a:solidFill>
                  <a:prstClr val="black"/>
                </a:solidFill>
              </a:rPr>
              <a:t>No, we built it all before launching with any employers.</a:t>
            </a:r>
            <a:endParaRPr lang="en-US" sz="1200" b="1" dirty="0">
              <a:solidFill>
                <a:schemeClr val="accent1"/>
              </a:solidFill>
              <a:latin typeface="+mj-lt"/>
            </a:endParaRPr>
          </a:p>
          <a:p>
            <a:pPr marR="0">
              <a:spcBef>
                <a:spcPts val="0"/>
              </a:spcBef>
              <a:spcAft>
                <a:spcPts val="0"/>
              </a:spcAft>
            </a:pPr>
            <a:endParaRPr lang="en-US" sz="1200" b="1" dirty="0">
              <a:solidFill>
                <a:schemeClr val="accent1"/>
              </a:solidFill>
              <a:latin typeface="+mj-lt"/>
            </a:endParaRPr>
          </a:p>
          <a:p>
            <a:pPr marR="0">
              <a:spcBef>
                <a:spcPts val="0"/>
              </a:spcBef>
              <a:spcAft>
                <a:spcPts val="0"/>
              </a:spcAft>
            </a:pPr>
            <a:r>
              <a:rPr lang="en-US" sz="1200" b="1" dirty="0">
                <a:solidFill>
                  <a:schemeClr val="accent1"/>
                </a:solidFill>
                <a:latin typeface="+mj-lt"/>
              </a:rPr>
              <a:t>Frederic Laurier </a:t>
            </a:r>
            <a:r>
              <a:rPr lang="en-US" sz="1200" dirty="0"/>
              <a:t>(15:22):</a:t>
            </a:r>
          </a:p>
          <a:p>
            <a:pPr marR="0">
              <a:spcBef>
                <a:spcPts val="0"/>
              </a:spcBef>
              <a:spcAft>
                <a:spcPts val="0"/>
              </a:spcAft>
            </a:pPr>
            <a:r>
              <a:rPr lang="en-US" sz="1200" dirty="0"/>
              <a:t>So how long did it take you? What were the major hurdles? Did you have to build several APIs? Did you get any pushback from third-party vendors?</a:t>
            </a:r>
          </a:p>
          <a:p>
            <a:pPr marR="0">
              <a:spcBef>
                <a:spcPts val="0"/>
              </a:spcBef>
              <a:spcAft>
                <a:spcPts val="0"/>
              </a:spcAft>
            </a:pPr>
            <a:endParaRPr lang="en-US" sz="1200" dirty="0"/>
          </a:p>
          <a:p>
            <a:pPr marR="0">
              <a:spcBef>
                <a:spcPts val="0"/>
              </a:spcBef>
              <a:spcAft>
                <a:spcPts val="0"/>
              </a:spcAft>
            </a:pPr>
            <a:r>
              <a:rPr lang="en-US" sz="1200" b="1" dirty="0">
                <a:solidFill>
                  <a:schemeClr val="accent1"/>
                </a:solidFill>
                <a:latin typeface="+mj-lt"/>
              </a:rPr>
              <a:t>Elan Adler </a:t>
            </a:r>
            <a:r>
              <a:rPr lang="en-US" sz="1200" dirty="0"/>
              <a:t>(15:31):</a:t>
            </a:r>
          </a:p>
          <a:p>
            <a:pPr marR="0">
              <a:spcBef>
                <a:spcPts val="0"/>
              </a:spcBef>
              <a:spcAft>
                <a:spcPts val="0"/>
              </a:spcAft>
            </a:pPr>
            <a:r>
              <a:rPr lang="en-US" sz="1200" dirty="0"/>
              <a:t>It was quite complicated. There's a lot of financial regulatory approvals that we needed to get and stay compliant on with the component of actually issuing a financial tool. We had to go through all the clinical regulation and compliance: SOC 2, HIPAA, all of those things as well. It's actually really interesting. There's a banking aspect almost to our business. There's a huge financial aspect of our business, as well as a clinical part of our business. It's like double regulation, double compliances. So, it was quite complicated actually and took a long time on that alone.</a:t>
            </a:r>
          </a:p>
          <a:p>
            <a:pPr marR="0">
              <a:spcBef>
                <a:spcPts val="0"/>
              </a:spcBef>
              <a:spcAft>
                <a:spcPts val="0"/>
              </a:spcAft>
            </a:pPr>
            <a:endParaRPr lang="en-US" sz="1200" dirty="0"/>
          </a:p>
          <a:p>
            <a:pPr marR="0">
              <a:spcBef>
                <a:spcPts val="0"/>
              </a:spcBef>
              <a:spcAft>
                <a:spcPts val="0"/>
              </a:spcAft>
            </a:pPr>
            <a:r>
              <a:rPr lang="en-US" sz="1200" b="1" dirty="0">
                <a:solidFill>
                  <a:schemeClr val="accent1"/>
                </a:solidFill>
                <a:latin typeface="+mj-lt"/>
              </a:rPr>
              <a:t>Frederic Laurier </a:t>
            </a:r>
            <a:r>
              <a:rPr lang="en-US" sz="1200" dirty="0"/>
              <a:t>(16:07):</a:t>
            </a:r>
          </a:p>
          <a:p>
            <a:pPr marR="0">
              <a:spcBef>
                <a:spcPts val="0"/>
              </a:spcBef>
              <a:spcAft>
                <a:spcPts val="0"/>
              </a:spcAft>
            </a:pPr>
            <a:r>
              <a:rPr lang="en-US" sz="1200" dirty="0"/>
              <a:t>One last question, and it will come from Ricky. Ricky, one last for Elan?</a:t>
            </a:r>
          </a:p>
          <a:p>
            <a:pPr marR="0">
              <a:spcBef>
                <a:spcPts val="0"/>
              </a:spcBef>
              <a:spcAft>
                <a:spcPts val="0"/>
              </a:spcAft>
            </a:pPr>
            <a:endParaRPr lang="en-US" sz="1200" dirty="0"/>
          </a:p>
          <a:p>
            <a:pPr marR="0">
              <a:spcBef>
                <a:spcPts val="0"/>
              </a:spcBef>
              <a:spcAft>
                <a:spcPts val="0"/>
              </a:spcAft>
            </a:pPr>
            <a:r>
              <a:rPr lang="en-US" sz="1200" b="1" dirty="0">
                <a:solidFill>
                  <a:schemeClr val="accent1"/>
                </a:solidFill>
                <a:latin typeface="+mj-lt"/>
              </a:rPr>
              <a:t>Ricky Zhu </a:t>
            </a:r>
            <a:r>
              <a:rPr lang="en-US" sz="1200" dirty="0"/>
              <a:t>(16:12):</a:t>
            </a:r>
          </a:p>
          <a:p>
            <a:pPr marR="0">
              <a:spcBef>
                <a:spcPts val="0"/>
              </a:spcBef>
              <a:spcAft>
                <a:spcPts val="0"/>
              </a:spcAft>
            </a:pPr>
            <a:r>
              <a:rPr lang="en-US" sz="1200" dirty="0"/>
              <a:t>Elan, images reveal a wealth of information about a patient's health. Is there a future where imaging data becomes a part of preventative care?</a:t>
            </a:r>
          </a:p>
          <a:p>
            <a:pPr marR="0">
              <a:spcBef>
                <a:spcPts val="0"/>
              </a:spcBef>
              <a:spcAft>
                <a:spcPts val="0"/>
              </a:spcAft>
            </a:pPr>
            <a:endParaRPr lang="en-US" sz="1200" dirty="0"/>
          </a:p>
          <a:p>
            <a:pPr marR="0">
              <a:spcBef>
                <a:spcPts val="0"/>
              </a:spcBef>
              <a:spcAft>
                <a:spcPts val="0"/>
              </a:spcAft>
            </a:pPr>
            <a:r>
              <a:rPr lang="en-US" sz="1200" b="1" dirty="0">
                <a:solidFill>
                  <a:schemeClr val="accent1"/>
                </a:solidFill>
                <a:latin typeface="+mj-lt"/>
              </a:rPr>
              <a:t>Elan Adler </a:t>
            </a:r>
            <a:r>
              <a:rPr lang="en-US" sz="1200" dirty="0"/>
              <a:t>(16:21):</a:t>
            </a:r>
          </a:p>
          <a:p>
            <a:pPr marR="0">
              <a:spcBef>
                <a:spcPts val="0"/>
              </a:spcBef>
              <a:spcAft>
                <a:spcPts val="0"/>
              </a:spcAft>
            </a:pPr>
            <a:r>
              <a:rPr lang="en-US" sz="1200" dirty="0"/>
              <a:t>Yeah, that's a great question. So, as I mentioned, I was very much a part of the actual protocol building at one point in my career that Ezra ended up using, got acquired by Function. It's a world I know well. I helped process many patients who've gotten whole-body imaging. And I love it, to be honest with you. I think it's an awesome thing, and I'm glad that it's out there in the market.</a:t>
            </a:r>
          </a:p>
        </p:txBody>
      </p:sp>
      <p:pic>
        <p:nvPicPr>
          <p:cNvPr id="3" name="Picture 2" descr="A person in a black shirt&#10;&#10;Description automatically generated">
            <a:extLst>
              <a:ext uri="{FF2B5EF4-FFF2-40B4-BE49-F238E27FC236}">
                <a16:creationId xmlns:a16="http://schemas.microsoft.com/office/drawing/2014/main" id="{BD52D6F2-D212-6BCD-6D8A-781680C239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231" y="2563073"/>
            <a:ext cx="420624" cy="420624"/>
          </a:xfrm>
          <a:prstGeom prst="ellipse">
            <a:avLst/>
          </a:prstGeom>
          <a:solidFill>
            <a:srgbClr val="F7F8F4"/>
          </a:solidFill>
        </p:spPr>
      </p:pic>
      <p:pic>
        <p:nvPicPr>
          <p:cNvPr id="7" name="Picture 6" descr="A person in a black shirt&#10;&#10;Description automatically generated">
            <a:extLst>
              <a:ext uri="{FF2B5EF4-FFF2-40B4-BE49-F238E27FC236}">
                <a16:creationId xmlns:a16="http://schemas.microsoft.com/office/drawing/2014/main" id="{8E5D0E8C-20BB-E279-408C-3F22BBB23A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231" y="3859475"/>
            <a:ext cx="420624" cy="420624"/>
          </a:xfrm>
          <a:prstGeom prst="ellipse">
            <a:avLst/>
          </a:prstGeom>
          <a:solidFill>
            <a:srgbClr val="F7F8F4"/>
          </a:solidFill>
        </p:spPr>
      </p:pic>
      <p:pic>
        <p:nvPicPr>
          <p:cNvPr id="10" name="Picture 9">
            <a:extLst>
              <a:ext uri="{FF2B5EF4-FFF2-40B4-BE49-F238E27FC236}">
                <a16:creationId xmlns:a16="http://schemas.microsoft.com/office/drawing/2014/main" id="{DFB4C2E5-3E09-A474-3DA6-E2D4DB8D6E40}"/>
              </a:ext>
            </a:extLst>
          </p:cNvPr>
          <p:cNvPicPr>
            <a:picLocks noChangeAspect="1"/>
          </p:cNvPicPr>
          <p:nvPr/>
        </p:nvPicPr>
        <p:blipFill>
          <a:blip r:embed="rId4"/>
          <a:stretch>
            <a:fillRect/>
          </a:stretch>
        </p:blipFill>
        <p:spPr>
          <a:xfrm>
            <a:off x="426231" y="3285054"/>
            <a:ext cx="420624" cy="420624"/>
          </a:xfrm>
          <a:prstGeom prst="ellipse">
            <a:avLst/>
          </a:prstGeom>
        </p:spPr>
      </p:pic>
      <p:pic>
        <p:nvPicPr>
          <p:cNvPr id="11" name="Picture 10">
            <a:extLst>
              <a:ext uri="{FF2B5EF4-FFF2-40B4-BE49-F238E27FC236}">
                <a16:creationId xmlns:a16="http://schemas.microsoft.com/office/drawing/2014/main" id="{B9218EFB-583D-D6D7-0055-08E26372F3B5}"/>
              </a:ext>
            </a:extLst>
          </p:cNvPr>
          <p:cNvPicPr>
            <a:picLocks noChangeAspect="1"/>
          </p:cNvPicPr>
          <p:nvPr/>
        </p:nvPicPr>
        <p:blipFill>
          <a:blip r:embed="rId4"/>
          <a:stretch>
            <a:fillRect/>
          </a:stretch>
        </p:blipFill>
        <p:spPr>
          <a:xfrm>
            <a:off x="426231" y="4590409"/>
            <a:ext cx="420624" cy="420624"/>
          </a:xfrm>
          <a:prstGeom prst="ellipse">
            <a:avLst/>
          </a:prstGeom>
        </p:spPr>
      </p:pic>
      <p:pic>
        <p:nvPicPr>
          <p:cNvPr id="12" name="Picture 11" descr="A person in a black shirt&#10;&#10;Description automatically generated">
            <a:extLst>
              <a:ext uri="{FF2B5EF4-FFF2-40B4-BE49-F238E27FC236}">
                <a16:creationId xmlns:a16="http://schemas.microsoft.com/office/drawing/2014/main" id="{081040CB-519F-D01C-2C0D-4688D65C80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231" y="6057369"/>
            <a:ext cx="420624" cy="420624"/>
          </a:xfrm>
          <a:prstGeom prst="ellipse">
            <a:avLst/>
          </a:prstGeom>
          <a:solidFill>
            <a:srgbClr val="F7F8F4"/>
          </a:solidFill>
        </p:spPr>
      </p:pic>
      <p:grpSp>
        <p:nvGrpSpPr>
          <p:cNvPr id="13" name="Group 12">
            <a:extLst>
              <a:ext uri="{FF2B5EF4-FFF2-40B4-BE49-F238E27FC236}">
                <a16:creationId xmlns:a16="http://schemas.microsoft.com/office/drawing/2014/main" id="{EAB976D8-8E4B-DCBC-A6B2-05642139201F}"/>
              </a:ext>
            </a:extLst>
          </p:cNvPr>
          <p:cNvGrpSpPr/>
          <p:nvPr/>
        </p:nvGrpSpPr>
        <p:grpSpPr>
          <a:xfrm>
            <a:off x="426231" y="6598048"/>
            <a:ext cx="420624" cy="420624"/>
            <a:chOff x="5535389" y="2667957"/>
            <a:chExt cx="1172409" cy="1170432"/>
          </a:xfrm>
        </p:grpSpPr>
        <p:sp>
          <p:nvSpPr>
            <p:cNvPr id="14" name="Oval 13">
              <a:extLst>
                <a:ext uri="{FF2B5EF4-FFF2-40B4-BE49-F238E27FC236}">
                  <a16:creationId xmlns:a16="http://schemas.microsoft.com/office/drawing/2014/main" id="{CE84D015-4EA9-3B43-A4C9-90FB369E4718}"/>
                </a:ext>
              </a:extLst>
            </p:cNvPr>
            <p:cNvSpPr/>
            <p:nvPr/>
          </p:nvSpPr>
          <p:spPr>
            <a:xfrm>
              <a:off x="5536377" y="2674437"/>
              <a:ext cx="1170433" cy="1157472"/>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person in a suit and tie&#10;&#10;Description automatically generated">
              <a:extLst>
                <a:ext uri="{FF2B5EF4-FFF2-40B4-BE49-F238E27FC236}">
                  <a16:creationId xmlns:a16="http://schemas.microsoft.com/office/drawing/2014/main" id="{0F845C8A-9410-2B6F-F715-C43F32F7E346}"/>
                </a:ext>
              </a:extLst>
            </p:cNvPr>
            <p:cNvPicPr>
              <a:picLocks noChangeAspect="1"/>
            </p:cNvPicPr>
            <p:nvPr/>
          </p:nvPicPr>
          <p:blipFill rotWithShape="1">
            <a:blip r:embed="rId5">
              <a:extLst>
                <a:ext uri="{28A0092B-C50C-407E-A947-70E740481C1C}">
                  <a14:useLocalDpi xmlns:a14="http://schemas.microsoft.com/office/drawing/2010/main" val="0"/>
                </a:ext>
              </a:extLst>
            </a:blip>
            <a:srcRect l="4478" r="4272" b="8904"/>
            <a:stretch/>
          </p:blipFill>
          <p:spPr>
            <a:xfrm>
              <a:off x="5535389" y="2667957"/>
              <a:ext cx="1172409" cy="1170432"/>
            </a:xfrm>
            <a:prstGeom prst="ellipse">
              <a:avLst/>
            </a:prstGeom>
          </p:spPr>
        </p:pic>
      </p:grpSp>
      <p:pic>
        <p:nvPicPr>
          <p:cNvPr id="16" name="Picture 15">
            <a:extLst>
              <a:ext uri="{FF2B5EF4-FFF2-40B4-BE49-F238E27FC236}">
                <a16:creationId xmlns:a16="http://schemas.microsoft.com/office/drawing/2014/main" id="{FB352605-2BD1-27E2-AAF9-1A5D0EE0692D}"/>
              </a:ext>
            </a:extLst>
          </p:cNvPr>
          <p:cNvPicPr>
            <a:picLocks noChangeAspect="1"/>
          </p:cNvPicPr>
          <p:nvPr/>
        </p:nvPicPr>
        <p:blipFill>
          <a:blip r:embed="rId4"/>
          <a:stretch>
            <a:fillRect/>
          </a:stretch>
        </p:blipFill>
        <p:spPr>
          <a:xfrm>
            <a:off x="426231" y="7314017"/>
            <a:ext cx="420624" cy="420624"/>
          </a:xfrm>
          <a:prstGeom prst="ellipse">
            <a:avLst/>
          </a:prstGeom>
        </p:spPr>
      </p:pic>
      <p:pic>
        <p:nvPicPr>
          <p:cNvPr id="20" name="Picture 19">
            <a:extLst>
              <a:ext uri="{FF2B5EF4-FFF2-40B4-BE49-F238E27FC236}">
                <a16:creationId xmlns:a16="http://schemas.microsoft.com/office/drawing/2014/main" id="{5B666478-3375-BE4E-CB38-05587D313D6E}"/>
              </a:ext>
            </a:extLst>
          </p:cNvPr>
          <p:cNvPicPr>
            <a:picLocks noChangeAspect="1"/>
          </p:cNvPicPr>
          <p:nvPr/>
        </p:nvPicPr>
        <p:blipFill>
          <a:blip r:embed="rId4"/>
          <a:stretch>
            <a:fillRect/>
          </a:stretch>
        </p:blipFill>
        <p:spPr>
          <a:xfrm>
            <a:off x="426231" y="1445619"/>
            <a:ext cx="420624" cy="420624"/>
          </a:xfrm>
          <a:prstGeom prst="ellipse">
            <a:avLst/>
          </a:prstGeom>
        </p:spPr>
      </p:pic>
    </p:spTree>
    <p:extLst>
      <p:ext uri="{BB962C8B-B14F-4D97-AF65-F5344CB8AC3E}">
        <p14:creationId xmlns:p14="http://schemas.microsoft.com/office/powerpoint/2010/main" val="12760805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63ED3E-BAAD-C916-93CA-4D0A91556032}"/>
            </a:ext>
          </a:extLst>
        </p:cNvPr>
        <p:cNvGrpSpPr/>
        <p:nvPr/>
      </p:nvGrpSpPr>
      <p:grpSpPr>
        <a:xfrm>
          <a:off x="0" y="0"/>
          <a:ext cx="0" cy="0"/>
          <a:chOff x="0" y="0"/>
          <a:chExt cx="0" cy="0"/>
        </a:xfrm>
      </p:grpSpPr>
      <p:sp>
        <p:nvSpPr>
          <p:cNvPr id="31" name="TextBox 30">
            <a:extLst>
              <a:ext uri="{FF2B5EF4-FFF2-40B4-BE49-F238E27FC236}">
                <a16:creationId xmlns:a16="http://schemas.microsoft.com/office/drawing/2014/main" id="{9EA28AAE-7DE2-39C2-ADD3-0096FE67986C}"/>
              </a:ext>
            </a:extLst>
          </p:cNvPr>
          <p:cNvSpPr txBox="1"/>
          <p:nvPr/>
        </p:nvSpPr>
        <p:spPr>
          <a:xfrm flipH="1">
            <a:off x="406908" y="725540"/>
            <a:ext cx="6958584" cy="384721"/>
          </a:xfrm>
          <a:prstGeom prst="rect">
            <a:avLst/>
          </a:prstGeom>
          <a:noFill/>
        </p:spPr>
        <p:txBody>
          <a:bodyPr wrap="square" lIns="0" tIns="0" rIns="0" bIns="0" rtlCol="0">
            <a:spAutoFit/>
          </a:bodyPr>
          <a:lstStyle/>
          <a:p>
            <a:r>
              <a:rPr lang="en-US" sz="2500" dirty="0">
                <a:solidFill>
                  <a:srgbClr val="A9C47F"/>
                </a:solidFill>
                <a:latin typeface="FS Joey" panose="02000506040000020004" pitchFamily="50" charset="0"/>
              </a:rPr>
              <a:t>Episode Transcript</a:t>
            </a:r>
          </a:p>
        </p:txBody>
      </p:sp>
      <p:graphicFrame>
        <p:nvGraphicFramePr>
          <p:cNvPr id="2" name="Table 2">
            <a:extLst>
              <a:ext uri="{FF2B5EF4-FFF2-40B4-BE49-F238E27FC236}">
                <a16:creationId xmlns:a16="http://schemas.microsoft.com/office/drawing/2014/main" id="{3FF47938-D118-EFE8-81CE-1498F08D007E}"/>
              </a:ext>
            </a:extLst>
          </p:cNvPr>
          <p:cNvGraphicFramePr>
            <a:graphicFrameLocks noGrp="1"/>
          </p:cNvGraphicFramePr>
          <p:nvPr>
            <p:extLst>
              <p:ext uri="{D42A27DB-BD31-4B8C-83A1-F6EECF244321}">
                <p14:modId xmlns:p14="http://schemas.microsoft.com/office/powerpoint/2010/main" val="574667671"/>
              </p:ext>
            </p:extLst>
          </p:nvPr>
        </p:nvGraphicFramePr>
        <p:xfrm>
          <a:off x="406908" y="318008"/>
          <a:ext cx="6958584" cy="201168"/>
        </p:xfrm>
        <a:graphic>
          <a:graphicData uri="http://schemas.openxmlformats.org/drawingml/2006/table">
            <a:tbl>
              <a:tblPr firstRow="1" bandRow="1">
                <a:tableStyleId>{2D5ABB26-0587-4C30-8999-92F81FD0307C}</a:tableStyleId>
              </a:tblPr>
              <a:tblGrid>
                <a:gridCol w="4327652">
                  <a:extLst>
                    <a:ext uri="{9D8B030D-6E8A-4147-A177-3AD203B41FA5}">
                      <a16:colId xmlns:a16="http://schemas.microsoft.com/office/drawing/2014/main" val="1800358546"/>
                    </a:ext>
                  </a:extLst>
                </a:gridCol>
                <a:gridCol w="1564640">
                  <a:extLst>
                    <a:ext uri="{9D8B030D-6E8A-4147-A177-3AD203B41FA5}">
                      <a16:colId xmlns:a16="http://schemas.microsoft.com/office/drawing/2014/main" val="2602549205"/>
                    </a:ext>
                  </a:extLst>
                </a:gridCol>
                <a:gridCol w="1066292">
                  <a:extLst>
                    <a:ext uri="{9D8B030D-6E8A-4147-A177-3AD203B41FA5}">
                      <a16:colId xmlns:a16="http://schemas.microsoft.com/office/drawing/2014/main" val="52187482"/>
                    </a:ext>
                  </a:extLst>
                </a:gridCol>
              </a:tblGrid>
              <a:tr h="17399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latin typeface="+mn-lt"/>
                        </a:rPr>
                        <a:t>Reinserting Capitalism into Healthcare with Elan Adler, CEO of </a:t>
                      </a:r>
                      <a:r>
                        <a:rPr lang="en-US" sz="900" dirty="0" err="1">
                          <a:latin typeface="+mn-lt"/>
                        </a:rPr>
                        <a:t>OneImaging</a:t>
                      </a:r>
                      <a:endParaRPr lang="en-US" sz="900" dirty="0">
                        <a:latin typeface="+mn-lt"/>
                      </a:endParaRPr>
                    </a:p>
                  </a:txBody>
                  <a:tcPr marL="0" marR="0" marT="0" marB="64008"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latin typeface="+mn-lt"/>
                        </a:rPr>
                        <a:t>Podcast Episode Release</a:t>
                      </a:r>
                    </a:p>
                  </a:txBody>
                  <a:tcPr marR="0" marT="0" marB="64008" anchor="b">
                    <a:lnL w="9525" cap="flat" cmpd="sng" algn="ctr">
                      <a:solidFill>
                        <a:schemeClr val="tx1"/>
                      </a:solidFill>
                      <a:prstDash val="solid"/>
                      <a:round/>
                      <a:headEnd type="none" w="med" len="med"/>
                      <a:tailEnd type="none" w="med" len="med"/>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77240" rtl="0" eaLnBrk="1" fontAlgn="auto" latinLnBrk="0" hangingPunct="1">
                        <a:lnSpc>
                          <a:spcPct val="100000"/>
                        </a:lnSpc>
                        <a:spcBef>
                          <a:spcPts val="0"/>
                        </a:spcBef>
                        <a:spcAft>
                          <a:spcPts val="0"/>
                        </a:spcAft>
                        <a:buClrTx/>
                        <a:buSzTx/>
                        <a:buFontTx/>
                        <a:buNone/>
                        <a:tabLst/>
                        <a:defRPr/>
                      </a:pPr>
                      <a:r>
                        <a:rPr lang="en-US" sz="900" dirty="0"/>
                        <a:t>8</a:t>
                      </a:r>
                    </a:p>
                  </a:txBody>
                  <a:tcPr marL="0" marR="0" marT="0" marB="64008" anchor="b">
                    <a:lnL>
                      <a:noFill/>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6628539"/>
                  </a:ext>
                </a:extLst>
              </a:tr>
            </a:tbl>
          </a:graphicData>
        </a:graphic>
      </p:graphicFrame>
      <p:sp>
        <p:nvSpPr>
          <p:cNvPr id="6" name="TextBox 5">
            <a:extLst>
              <a:ext uri="{FF2B5EF4-FFF2-40B4-BE49-F238E27FC236}">
                <a16:creationId xmlns:a16="http://schemas.microsoft.com/office/drawing/2014/main" id="{673C83DE-ECC1-97C1-F149-05400DB4B7B7}"/>
              </a:ext>
            </a:extLst>
          </p:cNvPr>
          <p:cNvSpPr txBox="1"/>
          <p:nvPr/>
        </p:nvSpPr>
        <p:spPr>
          <a:xfrm>
            <a:off x="864108" y="1391920"/>
            <a:ext cx="6501384" cy="6740307"/>
          </a:xfrm>
          <a:prstGeom prst="rect">
            <a:avLst/>
          </a:prstGeom>
          <a:noFill/>
        </p:spPr>
        <p:txBody>
          <a:bodyPr wrap="square" rtlCol="0">
            <a:spAutoFit/>
          </a:bodyPr>
          <a:lstStyle/>
          <a:p>
            <a:pPr marR="0">
              <a:spcBef>
                <a:spcPts val="0"/>
              </a:spcBef>
              <a:spcAft>
                <a:spcPts val="0"/>
              </a:spcAft>
            </a:pPr>
            <a:r>
              <a:rPr lang="en-US" sz="1200" dirty="0"/>
              <a:t>(16:45):</a:t>
            </a:r>
          </a:p>
          <a:p>
            <a:pPr marR="0">
              <a:spcBef>
                <a:spcPts val="0"/>
              </a:spcBef>
              <a:spcAft>
                <a:spcPts val="0"/>
              </a:spcAft>
            </a:pPr>
            <a:r>
              <a:rPr lang="en-US" sz="1200" dirty="0"/>
              <a:t>Now, it has its downsides though. When you get a whole-body scan and you acquire all these images of your body, it only provides one snapshot in time. And there's an inherent problem that creates bias in that. I'll give an example. When I was a child, I had a growth in my arm. I had it removed, of course. It was inside my arm, and it was a little benign. It was benign. Maybe I didn't need that surgery, whatever it might be. It wasn't a real surgery; it was just excision. But the point being this is let's say you get a whole-body scan and they find one of these benign growths. Benign, not malignant. Look, you should... not debating whether or not you should have the right as a person to go and do whatever you want, I believe you should. You do have the right. However, it's important to know that it only provides one snapshot of time. That growth may have been there for 30, 40 years and done absolutely nothing.</a:t>
            </a:r>
          </a:p>
          <a:p>
            <a:pPr marR="0">
              <a:spcBef>
                <a:spcPts val="0"/>
              </a:spcBef>
              <a:spcAft>
                <a:spcPts val="0"/>
              </a:spcAft>
            </a:pPr>
            <a:endParaRPr lang="en-US" sz="1200" dirty="0"/>
          </a:p>
          <a:p>
            <a:r>
              <a:rPr lang="en-US" sz="1200" dirty="0"/>
              <a:t>(17:43):</a:t>
            </a:r>
          </a:p>
          <a:p>
            <a:pPr marR="0">
              <a:spcBef>
                <a:spcPts val="0"/>
              </a:spcBef>
              <a:spcAft>
                <a:spcPts val="0"/>
              </a:spcAft>
            </a:pPr>
            <a:r>
              <a:rPr lang="en-US" sz="1200" dirty="0"/>
              <a:t>Again, there are huge pros and huge cons, but you must acknowledge that there is a fallacy here, that it is a single snapshot in time; it is not over many periods of time. And so now you've gotten that surgery, you might get a nosocomial or hospital-borne infection. You might have complications afterwards that cause a lot more things that are negative. That's one thing.</a:t>
            </a:r>
          </a:p>
          <a:p>
            <a:pPr marR="0">
              <a:spcBef>
                <a:spcPts val="0"/>
              </a:spcBef>
              <a:spcAft>
                <a:spcPts val="0"/>
              </a:spcAft>
            </a:pPr>
            <a:endParaRPr lang="en-US" sz="1200" dirty="0"/>
          </a:p>
          <a:p>
            <a:pPr marR="0">
              <a:spcBef>
                <a:spcPts val="0"/>
              </a:spcBef>
              <a:spcAft>
                <a:spcPts val="0"/>
              </a:spcAft>
            </a:pPr>
            <a:r>
              <a:rPr lang="en-US" sz="1200" dirty="0"/>
              <a:t>(18:05):</a:t>
            </a:r>
          </a:p>
          <a:p>
            <a:r>
              <a:rPr lang="en-US" sz="1200" dirty="0"/>
              <a:t>Now, compare that to, let's say, a patient who's getting a perfusion MRI of their liver or their brain because they're getting chemotherapy on a malignant tumor. Again, I know it's a little bit different, but what you're doing is you're imaging that tumor or that malignancy over periods of time and seeing how it reacts to the chemotherapy. You're able to see it shrink, progress, or go into remission, et cetera. So just think about this as perspective. So having multiple snapshots of time is very important to understanding what's actually going on. And so, when you think about it in this sense, I think it's super important – and we are actually doing this and working on this at </a:t>
            </a:r>
            <a:r>
              <a:rPr lang="en-US" sz="1200" dirty="0" err="1"/>
              <a:t>OneImaging</a:t>
            </a:r>
            <a:r>
              <a:rPr lang="en-US" sz="1200" dirty="0"/>
              <a:t> – to unify all of your imaging data. And that will allow people and healthcare consumers to own it and do what they want with it. They can't today, and they can't empower their doctors to do more with it, but there's a wealth of data out there in disparate places.</a:t>
            </a:r>
          </a:p>
          <a:p>
            <a:pPr marR="0">
              <a:spcBef>
                <a:spcPts val="0"/>
              </a:spcBef>
              <a:spcAft>
                <a:spcPts val="0"/>
              </a:spcAft>
            </a:pPr>
            <a:endParaRPr lang="en-US" sz="1200" dirty="0"/>
          </a:p>
          <a:p>
            <a:r>
              <a:rPr lang="en-US" sz="1200" dirty="0"/>
              <a:t>(19:00):</a:t>
            </a:r>
          </a:p>
          <a:p>
            <a:pPr marR="0">
              <a:spcBef>
                <a:spcPts val="0"/>
              </a:spcBef>
              <a:spcAft>
                <a:spcPts val="0"/>
              </a:spcAft>
            </a:pPr>
            <a:r>
              <a:rPr lang="en-US" sz="1200" dirty="0"/>
              <a:t>And so that's why I love that we're called </a:t>
            </a:r>
            <a:r>
              <a:rPr lang="en-US" sz="1200" dirty="0" err="1"/>
              <a:t>OneImaging</a:t>
            </a:r>
            <a:r>
              <a:rPr lang="en-US" sz="1200" dirty="0"/>
              <a:t>. We're the one place for all your imaging needs, and we're unifying all of your imaging into one place. So, the ability to really take all that data and recycle it. There's a ton of incredible data about your body that is going completely unused, and it can be recycled. I'll give an example. Let's say you go skiing and you twist your ankle. That radiologist will be paid to read for a break, tear, or fracture. That's going to be in the ICD-10 code. And so, what may happen is if you don't have any eye-popping things for the radiologists, unless there's a tumor the size of a golf ball, they're just going to read for a break, tear, or fracture. They're not paid to read for your bone density, as an example.</a:t>
            </a:r>
          </a:p>
        </p:txBody>
      </p:sp>
      <p:pic>
        <p:nvPicPr>
          <p:cNvPr id="4" name="Picture 3">
            <a:extLst>
              <a:ext uri="{FF2B5EF4-FFF2-40B4-BE49-F238E27FC236}">
                <a16:creationId xmlns:a16="http://schemas.microsoft.com/office/drawing/2014/main" id="{A76236B6-1403-7747-C144-DB0A180D17D4}"/>
              </a:ext>
            </a:extLst>
          </p:cNvPr>
          <p:cNvPicPr>
            <a:picLocks noChangeAspect="1"/>
          </p:cNvPicPr>
          <p:nvPr/>
        </p:nvPicPr>
        <p:blipFill>
          <a:blip r:embed="rId3"/>
          <a:stretch>
            <a:fillRect/>
          </a:stretch>
        </p:blipFill>
        <p:spPr>
          <a:xfrm>
            <a:off x="426231" y="1445619"/>
            <a:ext cx="420624" cy="420624"/>
          </a:xfrm>
          <a:prstGeom prst="ellipse">
            <a:avLst/>
          </a:prstGeom>
        </p:spPr>
      </p:pic>
    </p:spTree>
    <p:extLst>
      <p:ext uri="{BB962C8B-B14F-4D97-AF65-F5344CB8AC3E}">
        <p14:creationId xmlns:p14="http://schemas.microsoft.com/office/powerpoint/2010/main" val="494266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D84E71-B464-7BE9-A2C2-ED6139B541FB}"/>
            </a:ext>
          </a:extLst>
        </p:cNvPr>
        <p:cNvGrpSpPr/>
        <p:nvPr/>
      </p:nvGrpSpPr>
      <p:grpSpPr>
        <a:xfrm>
          <a:off x="0" y="0"/>
          <a:ext cx="0" cy="0"/>
          <a:chOff x="0" y="0"/>
          <a:chExt cx="0" cy="0"/>
        </a:xfrm>
      </p:grpSpPr>
      <p:sp>
        <p:nvSpPr>
          <p:cNvPr id="31" name="TextBox 30">
            <a:extLst>
              <a:ext uri="{FF2B5EF4-FFF2-40B4-BE49-F238E27FC236}">
                <a16:creationId xmlns:a16="http://schemas.microsoft.com/office/drawing/2014/main" id="{FE053B1C-053B-0754-63CE-AF812AAE6A2A}"/>
              </a:ext>
            </a:extLst>
          </p:cNvPr>
          <p:cNvSpPr txBox="1"/>
          <p:nvPr/>
        </p:nvSpPr>
        <p:spPr>
          <a:xfrm flipH="1">
            <a:off x="406908" y="725540"/>
            <a:ext cx="6958584" cy="384721"/>
          </a:xfrm>
          <a:prstGeom prst="rect">
            <a:avLst/>
          </a:prstGeom>
          <a:noFill/>
        </p:spPr>
        <p:txBody>
          <a:bodyPr wrap="square" lIns="0" tIns="0" rIns="0" bIns="0" rtlCol="0">
            <a:spAutoFit/>
          </a:bodyPr>
          <a:lstStyle/>
          <a:p>
            <a:r>
              <a:rPr lang="en-US" sz="2500" dirty="0">
                <a:solidFill>
                  <a:srgbClr val="A9C47F"/>
                </a:solidFill>
                <a:latin typeface="FS Joey" panose="02000506040000020004" pitchFamily="50" charset="0"/>
              </a:rPr>
              <a:t>Episode Transcript</a:t>
            </a:r>
          </a:p>
        </p:txBody>
      </p:sp>
      <p:graphicFrame>
        <p:nvGraphicFramePr>
          <p:cNvPr id="2" name="Table 2">
            <a:extLst>
              <a:ext uri="{FF2B5EF4-FFF2-40B4-BE49-F238E27FC236}">
                <a16:creationId xmlns:a16="http://schemas.microsoft.com/office/drawing/2014/main" id="{24F8B793-ECE1-72AC-EC84-CA0BE9226162}"/>
              </a:ext>
            </a:extLst>
          </p:cNvPr>
          <p:cNvGraphicFramePr>
            <a:graphicFrameLocks noGrp="1"/>
          </p:cNvGraphicFramePr>
          <p:nvPr>
            <p:extLst>
              <p:ext uri="{D42A27DB-BD31-4B8C-83A1-F6EECF244321}">
                <p14:modId xmlns:p14="http://schemas.microsoft.com/office/powerpoint/2010/main" val="1832366697"/>
              </p:ext>
            </p:extLst>
          </p:nvPr>
        </p:nvGraphicFramePr>
        <p:xfrm>
          <a:off x="406908" y="345186"/>
          <a:ext cx="6958584" cy="201168"/>
        </p:xfrm>
        <a:graphic>
          <a:graphicData uri="http://schemas.openxmlformats.org/drawingml/2006/table">
            <a:tbl>
              <a:tblPr firstRow="1" bandRow="1">
                <a:tableStyleId>{2D5ABB26-0587-4C30-8999-92F81FD0307C}</a:tableStyleId>
              </a:tblPr>
              <a:tblGrid>
                <a:gridCol w="4327652">
                  <a:extLst>
                    <a:ext uri="{9D8B030D-6E8A-4147-A177-3AD203B41FA5}">
                      <a16:colId xmlns:a16="http://schemas.microsoft.com/office/drawing/2014/main" val="1800358546"/>
                    </a:ext>
                  </a:extLst>
                </a:gridCol>
                <a:gridCol w="1564640">
                  <a:extLst>
                    <a:ext uri="{9D8B030D-6E8A-4147-A177-3AD203B41FA5}">
                      <a16:colId xmlns:a16="http://schemas.microsoft.com/office/drawing/2014/main" val="2602549205"/>
                    </a:ext>
                  </a:extLst>
                </a:gridCol>
                <a:gridCol w="1066292">
                  <a:extLst>
                    <a:ext uri="{9D8B030D-6E8A-4147-A177-3AD203B41FA5}">
                      <a16:colId xmlns:a16="http://schemas.microsoft.com/office/drawing/2014/main" val="52187482"/>
                    </a:ext>
                  </a:extLst>
                </a:gridCol>
              </a:tblGrid>
              <a:tr h="17399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latin typeface="+mn-lt"/>
                        </a:rPr>
                        <a:t>Reinserting Capitalism into Healthcare with Elan Adler, CEO of </a:t>
                      </a:r>
                      <a:r>
                        <a:rPr lang="en-US" sz="900" dirty="0" err="1">
                          <a:latin typeface="+mn-lt"/>
                        </a:rPr>
                        <a:t>OneImaging</a:t>
                      </a:r>
                      <a:endParaRPr lang="en-US" sz="900" dirty="0">
                        <a:latin typeface="+mn-lt"/>
                      </a:endParaRPr>
                    </a:p>
                  </a:txBody>
                  <a:tcPr marL="0" marR="0" marT="0" marB="64008"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latin typeface="+mn-lt"/>
                        </a:rPr>
                        <a:t>Podcast Episode Release</a:t>
                      </a:r>
                    </a:p>
                  </a:txBody>
                  <a:tcPr marR="0" marT="0" marB="64008" anchor="b">
                    <a:lnL w="9525" cap="flat" cmpd="sng" algn="ctr">
                      <a:solidFill>
                        <a:schemeClr val="tx1"/>
                      </a:solidFill>
                      <a:prstDash val="solid"/>
                      <a:round/>
                      <a:headEnd type="none" w="med" len="med"/>
                      <a:tailEnd type="none" w="med" len="med"/>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77240" rtl="0" eaLnBrk="1" fontAlgn="auto" latinLnBrk="0" hangingPunct="1">
                        <a:lnSpc>
                          <a:spcPct val="100000"/>
                        </a:lnSpc>
                        <a:spcBef>
                          <a:spcPts val="0"/>
                        </a:spcBef>
                        <a:spcAft>
                          <a:spcPts val="0"/>
                        </a:spcAft>
                        <a:buClrTx/>
                        <a:buSzTx/>
                        <a:buFontTx/>
                        <a:buNone/>
                        <a:tabLst/>
                        <a:defRPr/>
                      </a:pPr>
                      <a:r>
                        <a:rPr lang="en-US" sz="900" dirty="0"/>
                        <a:t>9</a:t>
                      </a:r>
                    </a:p>
                  </a:txBody>
                  <a:tcPr marL="0" marR="0" marT="0" marB="64008" anchor="b">
                    <a:lnL>
                      <a:noFill/>
                    </a:lnL>
                    <a:lnR>
                      <a:noFill/>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6628539"/>
                  </a:ext>
                </a:extLst>
              </a:tr>
            </a:tbl>
          </a:graphicData>
        </a:graphic>
      </p:graphicFrame>
      <p:sp>
        <p:nvSpPr>
          <p:cNvPr id="6" name="TextBox 5">
            <a:extLst>
              <a:ext uri="{FF2B5EF4-FFF2-40B4-BE49-F238E27FC236}">
                <a16:creationId xmlns:a16="http://schemas.microsoft.com/office/drawing/2014/main" id="{5C0F514F-32BA-E93C-06F6-926954392642}"/>
              </a:ext>
            </a:extLst>
          </p:cNvPr>
          <p:cNvSpPr txBox="1"/>
          <p:nvPr/>
        </p:nvSpPr>
        <p:spPr>
          <a:xfrm>
            <a:off x="864108" y="1391920"/>
            <a:ext cx="6501384" cy="63709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FS Joey Light"/>
                <a:ea typeface="+mn-ea"/>
                <a:cs typeface="+mn-cs"/>
              </a:rPr>
              <a:t>(19:4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FS Joey Light"/>
                <a:ea typeface="+mn-ea"/>
                <a:cs typeface="+mn-cs"/>
              </a:rPr>
              <a:t>But what we may be able to say is, "Hey, Rick, did you know that your grandma had osteoporosis?" We're able to rerun this x-ray of your ankle, this x-ray of your ankle that you had next year or two years later and say, "Hey, your bone density actually falls outside of the normal standard deviation or outside of the normal range for a male age, let's say, 30 to 40. This is something that you should look at." That's very powerful data that doesn't increase more spending, and you're able to predict or prevent a disease from maturing to a point where the last half of your life is substantially worse in quality. That's where I see the value and the power, and that's what I'm really, really excited about that is different than other areas of healthcare. There's really good, hard quantitative data that we're able to leverage and utilize over time with the long tail of what we have. That doesn't necessarily exist in physical therapy, it doesn't exist in surgery, there isn't this hard quantitative data that you can recycle and reuse without increasing the cost of care. That, I think, is a big thing and a big deal and is more powerful than just a one-time whole-body sca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FS Joey Ligh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34A2C"/>
                </a:solidFill>
                <a:effectLst/>
                <a:uLnTx/>
                <a:uFillTx/>
                <a:latin typeface="FS Joey"/>
                <a:ea typeface="+mn-ea"/>
                <a:cs typeface="+mn-cs"/>
              </a:rPr>
              <a:t>Frederic Laurier</a:t>
            </a:r>
            <a:r>
              <a:rPr kumimoji="0" lang="en-US" sz="1200" b="0" i="0" u="none" strike="noStrike" kern="1200" cap="none" spc="0" normalizeH="0" baseline="0" noProof="0" dirty="0">
                <a:ln>
                  <a:noFill/>
                </a:ln>
                <a:solidFill>
                  <a:prstClr val="black"/>
                </a:solidFill>
                <a:effectLst/>
                <a:uLnTx/>
                <a:uFillTx/>
                <a:latin typeface="FS Joey Light"/>
                <a:ea typeface="+mn-ea"/>
                <a:cs typeface="+mn-cs"/>
              </a:rPr>
              <a:t> (20:4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FS Joey Light"/>
                <a:ea typeface="+mn-ea"/>
                <a:cs typeface="+mn-cs"/>
              </a:rPr>
              <a:t>Elan, on behalf of Ricky and our listeners, we want to sincerely thank you for taking the time. This was a great discussion, super enlightening. Ricky and I are looking forward to seeing you at RSNA.</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FS Joey Ligh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34A2C"/>
                </a:solidFill>
                <a:effectLst/>
                <a:uLnTx/>
                <a:uFillTx/>
                <a:latin typeface="FS Joey"/>
                <a:ea typeface="+mn-ea"/>
                <a:cs typeface="+mn-cs"/>
              </a:rPr>
              <a:t>Elan Adler </a:t>
            </a:r>
            <a:r>
              <a:rPr kumimoji="0" lang="en-US" sz="1200" b="0" i="0" u="none" strike="noStrike" kern="1200" cap="none" spc="0" normalizeH="0" baseline="0" noProof="0" dirty="0">
                <a:ln>
                  <a:noFill/>
                </a:ln>
                <a:solidFill>
                  <a:prstClr val="black"/>
                </a:solidFill>
                <a:effectLst/>
                <a:uLnTx/>
                <a:uFillTx/>
                <a:latin typeface="FS Joey Light"/>
                <a:ea typeface="+mn-ea"/>
                <a:cs typeface="+mn-cs"/>
              </a:rPr>
              <a:t>(20:5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FS Joey Light"/>
                <a:ea typeface="+mn-ea"/>
                <a:cs typeface="+mn-cs"/>
              </a:rPr>
              <a:t>Awesome. Well, I appreciate you having me on, and thanks for the thoughtful questions. And hopefully, listeners who are tuned in enjoy the conversation that we were able to hav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FS Joey Ligh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34A2C"/>
                </a:solidFill>
                <a:effectLst/>
                <a:uLnTx/>
                <a:uFillTx/>
                <a:latin typeface="FS Joey"/>
                <a:ea typeface="+mn-ea"/>
                <a:cs typeface="+mn-cs"/>
              </a:rPr>
              <a:t>Frederic Laurier </a:t>
            </a:r>
            <a:r>
              <a:rPr kumimoji="0" lang="en-US" sz="1200" b="0" i="0" u="none" strike="noStrike" kern="1200" cap="none" spc="0" normalizeH="0" baseline="0" noProof="0" dirty="0">
                <a:ln>
                  <a:noFill/>
                </a:ln>
                <a:solidFill>
                  <a:prstClr val="black"/>
                </a:solidFill>
                <a:effectLst/>
                <a:uLnTx/>
                <a:uFillTx/>
                <a:latin typeface="FS Joey Light"/>
                <a:ea typeface="+mn-ea"/>
                <a:cs typeface="+mn-cs"/>
              </a:rPr>
              <a:t>(21:0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FS Joey Light"/>
                <a:ea typeface="+mn-ea"/>
                <a:cs typeface="+mn-cs"/>
              </a:rPr>
              <a:t>Thanks again for tuning into another episode of Crossroads by Alantra, an initiative that strives at bringing together our team of sectoral experts and healthcare tech leaders to discuss innovative technologies and themes that are reshaping our industry. If you're seeking to explore your strategic options, our team is uniquely positioned to assist you. Our sectoral expertise and global network is simply unparalleled in the mid-market. To learn more, please feel free to visit our website or contact one of our team members directly.</a:t>
            </a:r>
            <a:endParaRPr lang="en-US" sz="1200" b="1" dirty="0">
              <a:solidFill>
                <a:schemeClr val="accent1"/>
              </a:solidFill>
              <a:latin typeface="+mj-lt"/>
            </a:endParaRPr>
          </a:p>
          <a:p>
            <a:pPr marR="0">
              <a:spcBef>
                <a:spcPts val="0"/>
              </a:spcBef>
              <a:spcAft>
                <a:spcPts val="0"/>
              </a:spcAft>
            </a:pPr>
            <a:endParaRPr lang="en-US" sz="1200" b="1" dirty="0">
              <a:solidFill>
                <a:schemeClr val="accent1"/>
              </a:solidFill>
              <a:latin typeface="+mj-lt"/>
            </a:endParaRPr>
          </a:p>
          <a:p>
            <a:pPr marR="0">
              <a:spcBef>
                <a:spcPts val="0"/>
              </a:spcBef>
              <a:spcAft>
                <a:spcPts val="0"/>
              </a:spcAft>
            </a:pPr>
            <a:r>
              <a:rPr lang="en-US" sz="1200" b="1" dirty="0">
                <a:solidFill>
                  <a:schemeClr val="accent1"/>
                </a:solidFill>
                <a:latin typeface="+mj-lt"/>
              </a:rPr>
              <a:t>Frederic Laurier </a:t>
            </a:r>
            <a:r>
              <a:rPr lang="en-US" sz="1200" dirty="0"/>
              <a:t>(21:06):</a:t>
            </a:r>
          </a:p>
          <a:p>
            <a:pPr marR="0">
              <a:spcBef>
                <a:spcPts val="0"/>
              </a:spcBef>
              <a:spcAft>
                <a:spcPts val="0"/>
              </a:spcAft>
            </a:pPr>
            <a:r>
              <a:rPr lang="en-US" sz="1200" dirty="0"/>
              <a:t>Thanks again for tuning into another episode of Crossroads by Alantra, an initiative that strives at bringing together our team of sectoral experts and healthcare tech leaders to discuss innovative technologies and themes that are reshaping our industry. If you're seeking to explore your strategic options, our team is uniquely positioned to assist you. Our sectoral expertise and global network is simply unparalleled in the mid-market. To learn more, please feel free to visit our website or contact one of our team members directly.</a:t>
            </a:r>
          </a:p>
        </p:txBody>
      </p:sp>
      <p:pic>
        <p:nvPicPr>
          <p:cNvPr id="3" name="Picture 2" descr="A person in a black shirt&#10;&#10;Description automatically generated">
            <a:extLst>
              <a:ext uri="{FF2B5EF4-FFF2-40B4-BE49-F238E27FC236}">
                <a16:creationId xmlns:a16="http://schemas.microsoft.com/office/drawing/2014/main" id="{0798F32A-1022-824D-38BA-EE32E0BAFE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231" y="3860410"/>
            <a:ext cx="420624" cy="420624"/>
          </a:xfrm>
          <a:prstGeom prst="ellipse">
            <a:avLst/>
          </a:prstGeom>
          <a:solidFill>
            <a:srgbClr val="F7F8F4"/>
          </a:solidFill>
        </p:spPr>
      </p:pic>
      <p:pic>
        <p:nvPicPr>
          <p:cNvPr id="7" name="Picture 6" descr="A person in a black shirt&#10;&#10;Description automatically generated">
            <a:extLst>
              <a:ext uri="{FF2B5EF4-FFF2-40B4-BE49-F238E27FC236}">
                <a16:creationId xmlns:a16="http://schemas.microsoft.com/office/drawing/2014/main" id="{26886C97-C0E8-7221-B7F4-AF94C82A52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231" y="6577910"/>
            <a:ext cx="420624" cy="420624"/>
          </a:xfrm>
          <a:prstGeom prst="ellipse">
            <a:avLst/>
          </a:prstGeom>
          <a:solidFill>
            <a:srgbClr val="F7F8F4"/>
          </a:solidFill>
        </p:spPr>
      </p:pic>
      <p:pic>
        <p:nvPicPr>
          <p:cNvPr id="4" name="Picture 3" descr="A person in a black shirt&#10;&#10;Description automatically generated">
            <a:extLst>
              <a:ext uri="{FF2B5EF4-FFF2-40B4-BE49-F238E27FC236}">
                <a16:creationId xmlns:a16="http://schemas.microsoft.com/office/drawing/2014/main" id="{9BD8A841-61BB-9F58-CAD0-56C39D5742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231" y="5290251"/>
            <a:ext cx="420624" cy="420624"/>
          </a:xfrm>
          <a:prstGeom prst="ellipse">
            <a:avLst/>
          </a:prstGeom>
          <a:solidFill>
            <a:srgbClr val="F7F8F4"/>
          </a:solidFill>
        </p:spPr>
      </p:pic>
      <p:pic>
        <p:nvPicPr>
          <p:cNvPr id="9" name="Picture 8">
            <a:extLst>
              <a:ext uri="{FF2B5EF4-FFF2-40B4-BE49-F238E27FC236}">
                <a16:creationId xmlns:a16="http://schemas.microsoft.com/office/drawing/2014/main" id="{919DFD80-AD26-7292-DC53-6C8FE100AC70}"/>
              </a:ext>
            </a:extLst>
          </p:cNvPr>
          <p:cNvPicPr>
            <a:picLocks noChangeAspect="1"/>
          </p:cNvPicPr>
          <p:nvPr/>
        </p:nvPicPr>
        <p:blipFill>
          <a:blip r:embed="rId4"/>
          <a:stretch>
            <a:fillRect/>
          </a:stretch>
        </p:blipFill>
        <p:spPr>
          <a:xfrm>
            <a:off x="426231" y="4578361"/>
            <a:ext cx="420624" cy="420624"/>
          </a:xfrm>
          <a:prstGeom prst="ellipse">
            <a:avLst/>
          </a:prstGeom>
        </p:spPr>
      </p:pic>
      <p:pic>
        <p:nvPicPr>
          <p:cNvPr id="11" name="Picture 10">
            <a:extLst>
              <a:ext uri="{FF2B5EF4-FFF2-40B4-BE49-F238E27FC236}">
                <a16:creationId xmlns:a16="http://schemas.microsoft.com/office/drawing/2014/main" id="{F476AD1D-A98F-6FED-734C-7963588C115F}"/>
              </a:ext>
            </a:extLst>
          </p:cNvPr>
          <p:cNvPicPr>
            <a:picLocks noChangeAspect="1"/>
          </p:cNvPicPr>
          <p:nvPr/>
        </p:nvPicPr>
        <p:blipFill>
          <a:blip r:embed="rId4"/>
          <a:stretch>
            <a:fillRect/>
          </a:stretch>
        </p:blipFill>
        <p:spPr>
          <a:xfrm>
            <a:off x="426231" y="1445619"/>
            <a:ext cx="420624" cy="420624"/>
          </a:xfrm>
          <a:prstGeom prst="ellipse">
            <a:avLst/>
          </a:prstGeom>
        </p:spPr>
      </p:pic>
    </p:spTree>
    <p:extLst>
      <p:ext uri="{BB962C8B-B14F-4D97-AF65-F5344CB8AC3E}">
        <p14:creationId xmlns:p14="http://schemas.microsoft.com/office/powerpoint/2010/main" val="2244520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1CA5FD4_F42B_46D3_A15F_2E11760F324A&quot;,&quot;SourceFullName&quot;:&quot;NULL&quot;,&quot;LastUpdate&quot;:&quot;2022-05-23 1:06 PM&quot;,&quot;UpdatedBy&quot;:&quot;darius.kuddo&quot;,&quot;IsLinked&quot;:false,&quot;IsBrokenLink&quot;:false,&quot;Type&quot;:1}"/>
</p:tagLst>
</file>

<file path=ppt/theme/theme1.xml><?xml version="1.0" encoding="utf-8"?>
<a:theme xmlns:a="http://schemas.openxmlformats.org/drawingml/2006/main" name="Office Theme">
  <a:themeElements>
    <a:clrScheme name="Alantra Marketing Colors">
      <a:dk1>
        <a:sysClr val="windowText" lastClr="000000"/>
      </a:dk1>
      <a:lt1>
        <a:srgbClr val="FFFFFF"/>
      </a:lt1>
      <a:dk2>
        <a:srgbClr val="44546A"/>
      </a:dk2>
      <a:lt2>
        <a:srgbClr val="7F7F7F"/>
      </a:lt2>
      <a:accent1>
        <a:srgbClr val="134A2C"/>
      </a:accent1>
      <a:accent2>
        <a:srgbClr val="607D64"/>
      </a:accent2>
      <a:accent3>
        <a:srgbClr val="008F5F"/>
      </a:accent3>
      <a:accent4>
        <a:srgbClr val="B8D288"/>
      </a:accent4>
      <a:accent5>
        <a:srgbClr val="25303B"/>
      </a:accent5>
      <a:accent6>
        <a:srgbClr val="454B59"/>
      </a:accent6>
      <a:hlink>
        <a:srgbClr val="0563C1"/>
      </a:hlink>
      <a:folHlink>
        <a:srgbClr val="954F72"/>
      </a:folHlink>
    </a:clrScheme>
    <a:fontScheme name="Alantra Marketing Fonts">
      <a:majorFont>
        <a:latin typeface="FS Joey"/>
        <a:ea typeface=""/>
        <a:cs typeface=""/>
      </a:majorFont>
      <a:minorFont>
        <a:latin typeface="FS Joey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30188272-F851-41C5-BA14-C7879FF01932}">
  <we:reference id="36907bf5-2c4b-4ebb-b2d8-8ed6acad83c2" version="1.0.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07ECB9F84262C40B3B73595A7E486EE" ma:contentTypeVersion="18" ma:contentTypeDescription="Create a new document." ma:contentTypeScope="" ma:versionID="6049107b5ef26fc4dd592b8743323a37">
  <xsd:schema xmlns:xsd="http://www.w3.org/2001/XMLSchema" xmlns:xs="http://www.w3.org/2001/XMLSchema" xmlns:p="http://schemas.microsoft.com/office/2006/metadata/properties" xmlns:ns2="4a0029ab-85d7-4714-a2c3-cd28dc54749f" xmlns:ns3="b54fc886-1820-44d8-aac5-ee1409c044ff" xmlns:ns4="747707ed-3ef7-4d3a-a282-0fdb36337548" targetNamespace="http://schemas.microsoft.com/office/2006/metadata/properties" ma:root="true" ma:fieldsID="d997c19aac67e99279fc50930c2d8df8" ns2:_="" ns3:_="" ns4:_="">
    <xsd:import namespace="4a0029ab-85d7-4714-a2c3-cd28dc54749f"/>
    <xsd:import namespace="b54fc886-1820-44d8-aac5-ee1409c044ff"/>
    <xsd:import namespace="747707ed-3ef7-4d3a-a282-0fdb363375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0029ab-85d7-4714-a2c3-cd28dc5474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4d4a91a-6d23-4de6-b967-ef3da266164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54fc886-1820-44d8-aac5-ee1409c044ff"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7707ed-3ef7-4d3a-a282-0fdb3633754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e3bcfd7-4b32-4dae-9696-032fde92d7eb}" ma:internalName="TaxCatchAll" ma:showField="CatchAllData" ma:web="747707ed-3ef7-4d3a-a282-0fdb3633754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a0029ab-85d7-4714-a2c3-cd28dc54749f">
      <Terms xmlns="http://schemas.microsoft.com/office/infopath/2007/PartnerControls"/>
    </lcf76f155ced4ddcb4097134ff3c332f>
    <TaxCatchAll xmlns="747707ed-3ef7-4d3a-a282-0fdb36337548" xsi:nil="true"/>
  </documentManagement>
</p:properties>
</file>

<file path=customXml/itemProps1.xml><?xml version="1.0" encoding="utf-8"?>
<ds:datastoreItem xmlns:ds="http://schemas.openxmlformats.org/officeDocument/2006/customXml" ds:itemID="{1E87FDAC-A0E6-482A-82D9-58874DBD5B9F}">
  <ds:schemaRefs>
    <ds:schemaRef ds:uri="http://schemas.microsoft.com/sharepoint/v3/contenttype/forms"/>
  </ds:schemaRefs>
</ds:datastoreItem>
</file>

<file path=customXml/itemProps2.xml><?xml version="1.0" encoding="utf-8"?>
<ds:datastoreItem xmlns:ds="http://schemas.openxmlformats.org/officeDocument/2006/customXml" ds:itemID="{6D3709CD-8FA3-4C9E-BDE5-61272ECCEB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a0029ab-85d7-4714-a2c3-cd28dc54749f"/>
    <ds:schemaRef ds:uri="b54fc886-1820-44d8-aac5-ee1409c044ff"/>
    <ds:schemaRef ds:uri="747707ed-3ef7-4d3a-a282-0fdb363375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546608B-DEA0-4B07-8562-74D79667B422}">
  <ds:schemaRefs>
    <ds:schemaRef ds:uri="http://schemas.microsoft.com/office/2006/documentManagement/types"/>
    <ds:schemaRef ds:uri="http://www.w3.org/XML/1998/namespace"/>
    <ds:schemaRef ds:uri="http://schemas.openxmlformats.org/package/2006/metadata/core-properties"/>
    <ds:schemaRef ds:uri="4a0029ab-85d7-4714-a2c3-cd28dc54749f"/>
    <ds:schemaRef ds:uri="b54fc886-1820-44d8-aac5-ee1409c044ff"/>
    <ds:schemaRef ds:uri="747707ed-3ef7-4d3a-a282-0fdb36337548"/>
    <ds:schemaRef ds:uri="http://purl.org/dc/terms/"/>
    <ds:schemaRef ds:uri="http://schemas.microsoft.com/office/2006/metadata/properties"/>
    <ds:schemaRef ds:uri="http://purl.org/dc/elements/1.1/"/>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2394</TotalTime>
  <Words>5941</Words>
  <Application>Microsoft Office PowerPoint</Application>
  <PresentationFormat>Custom</PresentationFormat>
  <Paragraphs>333</Paragraphs>
  <Slides>14</Slides>
  <Notes>1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4</vt:i4>
      </vt:variant>
    </vt:vector>
  </HeadingPairs>
  <TitlesOfParts>
    <vt:vector size="20" baseType="lpstr">
      <vt:lpstr>Arial</vt:lpstr>
      <vt:lpstr>Calibri</vt:lpstr>
      <vt:lpstr>Calibri Light</vt:lpstr>
      <vt:lpstr>FS Joey</vt:lpstr>
      <vt:lpstr>FS Joey Light</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rius Kuddo</dc:creator>
  <cp:lastModifiedBy>Ricky Zhu</cp:lastModifiedBy>
  <cp:revision>19</cp:revision>
  <dcterms:created xsi:type="dcterms:W3CDTF">2022-04-13T13:10:31Z</dcterms:created>
  <dcterms:modified xsi:type="dcterms:W3CDTF">2025-11-21T18:2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7ECB9F84262C40B3B73595A7E486EE</vt:lpwstr>
  </property>
  <property fmtid="{D5CDD505-2E9C-101B-9397-08002B2CF9AE}" pid="3" name="MediaServiceImageTags">
    <vt:lpwstr/>
  </property>
</Properties>
</file>